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3" r:id="rId1"/>
  </p:sldMasterIdLst>
  <p:notesMasterIdLst>
    <p:notesMasterId r:id="rId13"/>
  </p:notesMasterIdLst>
  <p:handoutMasterIdLst>
    <p:handoutMasterId r:id="rId14"/>
  </p:handoutMasterIdLst>
  <p:sldIdLst>
    <p:sldId id="1044" r:id="rId2"/>
    <p:sldId id="1046" r:id="rId3"/>
    <p:sldId id="1054" r:id="rId4"/>
    <p:sldId id="1050" r:id="rId5"/>
    <p:sldId id="1051" r:id="rId6"/>
    <p:sldId id="1045" r:id="rId7"/>
    <p:sldId id="1048" r:id="rId8"/>
    <p:sldId id="1047" r:id="rId9"/>
    <p:sldId id="1049" r:id="rId10"/>
    <p:sldId id="1052" r:id="rId11"/>
    <p:sldId id="1053" r:id="rId12"/>
  </p:sldIdLst>
  <p:sldSz cx="12190413" cy="6859588"/>
  <p:notesSz cx="6797675" cy="9928225"/>
  <p:custDataLst>
    <p:tags r:id="rId15"/>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21" pos="3930" userDrawn="1">
          <p15:clr>
            <a:srgbClr val="A4A3A4"/>
          </p15:clr>
        </p15:guide>
        <p15:guide id="28" orient="horz" pos="374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or" initials="A" lastIdx="5" clrIdx="0"/>
  <p:cmAuthor id="2" name="Agnieszka Jankowska" initials="AJ" lastIdx="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9BC14B-3246-4B13-866D-B978DFA5F210}" v="1" dt="2022-05-09T08:55:28.287"/>
  </p1510:revLst>
</p1510:revInfo>
</file>

<file path=ppt/tableStyles.xml><?xml version="1.0" encoding="utf-8"?>
<a:tblStyleLst xmlns:a="http://schemas.openxmlformats.org/drawingml/2006/main" def="{B6725016-3203-4A80-8B06-F3D9D4F44B69}">
  <a:tblStyle styleId="{B6725016-3203-4A80-8B06-F3D9D4F44B69}" styleName="TÜV Tabelle 1">
    <a:wholeTbl>
      <a:tcTxStyle>
        <a:fontRef idx="minor">
          <a:prstClr val="black"/>
        </a:fontRef>
        <a:schemeClr val="dk1"/>
      </a:tcTxStyle>
      <a:tcStyle>
        <a:tcBdr>
          <a:left>
            <a:ln>
              <a:noFill/>
            </a:ln>
          </a:left>
          <a:right>
            <a:ln>
              <a:noFill/>
            </a:ln>
          </a:right>
          <a:top>
            <a:ln>
              <a:noFill/>
            </a:ln>
          </a:top>
          <a:bottom>
            <a:ln w="9525" cmpd="sng">
              <a:solidFill>
                <a:schemeClr val="accent5"/>
              </a:solidFill>
            </a:ln>
          </a:bottom>
          <a:insideH>
            <a:ln w="9525" cmpd="sng">
              <a:solidFill>
                <a:schemeClr val="accent5"/>
              </a:solidFill>
            </a:ln>
          </a:insideH>
          <a:insideV>
            <a:ln>
              <a:noFill/>
            </a:ln>
          </a:insideV>
        </a:tcBdr>
        <a:fill>
          <a:noFill/>
        </a:fill>
      </a:tcStyle>
    </a:wholeTbl>
    <a:lastCol>
      <a:tcTxStyle b="on"/>
      <a:tcStyle>
        <a:tcBdr/>
      </a:tcStyle>
    </a:lastCol>
    <a:firstCol>
      <a:tcTxStyle b="on"/>
      <a:tcStyle>
        <a:tcBdr/>
      </a:tcStyle>
    </a:firstCol>
    <a:lastRow>
      <a:tcTxStyle>
        <a:fontRef idx="minor">
          <a:prstClr val="black"/>
        </a:fontRef>
        <a:schemeClr val="dk2"/>
      </a:tcTxStyle>
      <a:tcStyle>
        <a:tcBdr>
          <a:top>
            <a:ln w="19050" cmpd="sng">
              <a:solidFill>
                <a:schemeClr val="dk2"/>
              </a:solidFill>
            </a:ln>
          </a:top>
          <a:bottom>
            <a:ln>
              <a:noFill/>
            </a:ln>
          </a:bottom>
        </a:tcBdr>
        <a:fill>
          <a:solidFill>
            <a:schemeClr val="lt2"/>
          </a:solidFill>
        </a:fill>
      </a:tcStyle>
    </a:lastRow>
    <a:firstRow>
      <a:tcTxStyle b="on">
        <a:fontRef idx="minor">
          <a:prstClr val="black"/>
        </a:fontRef>
        <a:schemeClr val="lt1"/>
      </a:tcTxStyle>
      <a:tcStyle>
        <a:tcBdr>
          <a:bottom>
            <a:ln>
              <a:noFill/>
            </a:ln>
          </a:bottom>
        </a:tcBdr>
        <a:fill>
          <a:solidFill>
            <a:schemeClr val="dk2"/>
          </a:solidFill>
        </a:fill>
      </a:tcStyle>
    </a:firstRow>
  </a:tblStyle>
  <a:tblStyle styleId="{452CBF0C-6568-4A85-8F25-3A53C8EA72A9}" styleName="TÜV Tabelle 2">
    <a:wholeTbl>
      <a:tcTxStyle>
        <a:fontRef idx="minor">
          <a:prstClr val="black"/>
        </a:fontRef>
        <a:schemeClr val="dk1"/>
      </a:tcTxStyle>
      <a:tcStyle>
        <a:tcBdr>
          <a:left>
            <a:ln>
              <a:noFill/>
            </a:ln>
          </a:left>
          <a:right>
            <a:ln>
              <a:noFill/>
            </a:ln>
          </a:right>
          <a:top>
            <a:ln>
              <a:noFill/>
            </a:ln>
          </a:top>
          <a:bottom>
            <a:ln w="9525" cmpd="sng">
              <a:solidFill>
                <a:schemeClr val="accent5"/>
              </a:solidFill>
            </a:ln>
          </a:bottom>
          <a:insideH>
            <a:ln w="9525" cmpd="sng">
              <a:solidFill>
                <a:schemeClr val="accent5"/>
              </a:solidFill>
            </a:ln>
          </a:insideH>
          <a:insideV>
            <a:ln>
              <a:noFill/>
            </a:ln>
          </a:insideV>
        </a:tcBdr>
        <a:fill>
          <a:noFill/>
        </a:fill>
      </a:tcStyle>
    </a:wholeTbl>
    <a:band1H>
      <a:tcStyle>
        <a:tcBdr/>
        <a:fill>
          <a:solidFill>
            <a:schemeClr val="lt2"/>
          </a:solidFill>
        </a:fill>
      </a:tcStyle>
    </a:band1H>
    <a:band2H>
      <a:tcStyle>
        <a:tcBdr/>
      </a:tcStyle>
    </a:band2H>
    <a:lastCol>
      <a:tcTxStyle b="on"/>
      <a:tcStyle>
        <a:tcBdr/>
      </a:tcStyle>
    </a:lastCol>
    <a:firstCol>
      <a:tcTxStyle b="on"/>
      <a:tcStyle>
        <a:tcBdr/>
      </a:tcStyle>
    </a:firstCol>
    <a:lastRow>
      <a:tcTxStyle b="on"/>
      <a:tcStyle>
        <a:tcBdr/>
      </a:tcStyle>
    </a:lastRow>
    <a:firstRow>
      <a:tcTxStyle>
        <a:fontRef idx="minor">
          <a:prstClr val="black"/>
        </a:fontRef>
        <a:schemeClr val="dk2"/>
      </a:tcTxStyle>
      <a:tcStyle>
        <a:tcBdr>
          <a:bottom>
            <a:ln w="19050" cmpd="sng">
              <a:solidFill>
                <a:schemeClr val="dk2"/>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196" autoAdjust="0"/>
  </p:normalViewPr>
  <p:slideViewPr>
    <p:cSldViewPr>
      <p:cViewPr varScale="1">
        <p:scale>
          <a:sx n="114" d="100"/>
          <a:sy n="114" d="100"/>
        </p:scale>
        <p:origin x="414" y="120"/>
      </p:cViewPr>
      <p:guideLst>
        <p:guide pos="3930"/>
        <p:guide orient="horz" pos="3748"/>
      </p:guideLst>
    </p:cSldViewPr>
  </p:slideViewPr>
  <p:outlineViewPr>
    <p:cViewPr>
      <p:scale>
        <a:sx n="33" d="100"/>
        <a:sy n="33" d="100"/>
      </p:scale>
      <p:origin x="0" y="-6870"/>
    </p:cViewPr>
  </p:outlineViewPr>
  <p:notesTextViewPr>
    <p:cViewPr>
      <p:scale>
        <a:sx n="3" d="2"/>
        <a:sy n="3" d="2"/>
      </p:scale>
      <p:origin x="0" y="0"/>
    </p:cViewPr>
  </p:notesTextViewPr>
  <p:sorterViewPr>
    <p:cViewPr varScale="1">
      <p:scale>
        <a:sx n="1" d="1"/>
        <a:sy n="1" d="1"/>
      </p:scale>
      <p:origin x="0" y="0"/>
    </p:cViewPr>
  </p:sorterViewPr>
  <p:notesViewPr>
    <p:cSldViewPr showGuides="1">
      <p:cViewPr>
        <p:scale>
          <a:sx n="75" d="100"/>
          <a:sy n="75" d="100"/>
        </p:scale>
        <p:origin x="4026" y="24"/>
      </p:cViewPr>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dy Ullendahl" userId="84cf6375-3d5e-4a98-b3b8-3e3de2da94d7" providerId="ADAL" clId="{DB9BC14B-3246-4B13-866D-B978DFA5F210}"/>
    <pc:docChg chg="undo custSel addSld modSld">
      <pc:chgData name="Hardy Ullendahl" userId="84cf6375-3d5e-4a98-b3b8-3e3de2da94d7" providerId="ADAL" clId="{DB9BC14B-3246-4B13-866D-B978DFA5F210}" dt="2022-05-09T10:48:59.496" v="120" actId="1076"/>
      <pc:docMkLst>
        <pc:docMk/>
      </pc:docMkLst>
      <pc:sldChg chg="modSp mod">
        <pc:chgData name="Hardy Ullendahl" userId="84cf6375-3d5e-4a98-b3b8-3e3de2da94d7" providerId="ADAL" clId="{DB9BC14B-3246-4B13-866D-B978DFA5F210}" dt="2022-05-09T08:52:29.382" v="25" actId="20577"/>
        <pc:sldMkLst>
          <pc:docMk/>
          <pc:sldMk cId="1730704377" sldId="1044"/>
        </pc:sldMkLst>
        <pc:spChg chg="mod">
          <ac:chgData name="Hardy Ullendahl" userId="84cf6375-3d5e-4a98-b3b8-3e3de2da94d7" providerId="ADAL" clId="{DB9BC14B-3246-4B13-866D-B978DFA5F210}" dt="2022-05-09T08:52:29.382" v="25" actId="20577"/>
          <ac:spMkLst>
            <pc:docMk/>
            <pc:sldMk cId="1730704377" sldId="1044"/>
            <ac:spMk id="2" creationId="{5C3BFF51-C909-4479-868E-90404C05F002}"/>
          </ac:spMkLst>
        </pc:spChg>
      </pc:sldChg>
      <pc:sldChg chg="modSp mod">
        <pc:chgData name="Hardy Ullendahl" userId="84cf6375-3d5e-4a98-b3b8-3e3de2da94d7" providerId="ADAL" clId="{DB9BC14B-3246-4B13-866D-B978DFA5F210}" dt="2022-05-09T08:53:58.891" v="31" actId="20577"/>
        <pc:sldMkLst>
          <pc:docMk/>
          <pc:sldMk cId="4278010759" sldId="1045"/>
        </pc:sldMkLst>
        <pc:spChg chg="mod">
          <ac:chgData name="Hardy Ullendahl" userId="84cf6375-3d5e-4a98-b3b8-3e3de2da94d7" providerId="ADAL" clId="{DB9BC14B-3246-4B13-866D-B978DFA5F210}" dt="2022-05-09T08:53:58.891" v="31" actId="20577"/>
          <ac:spMkLst>
            <pc:docMk/>
            <pc:sldMk cId="4278010759" sldId="1045"/>
            <ac:spMk id="3" creationId="{5B5CEE68-823A-4589-949E-862DF87B86B5}"/>
          </ac:spMkLst>
        </pc:spChg>
      </pc:sldChg>
      <pc:sldChg chg="addSp delSp modSp mod">
        <pc:chgData name="Hardy Ullendahl" userId="84cf6375-3d5e-4a98-b3b8-3e3de2da94d7" providerId="ADAL" clId="{DB9BC14B-3246-4B13-866D-B978DFA5F210}" dt="2022-05-09T10:48:59.496" v="120" actId="1076"/>
        <pc:sldMkLst>
          <pc:docMk/>
          <pc:sldMk cId="2917693633" sldId="1046"/>
        </pc:sldMkLst>
        <pc:picChg chg="add mod">
          <ac:chgData name="Hardy Ullendahl" userId="84cf6375-3d5e-4a98-b3b8-3e3de2da94d7" providerId="ADAL" clId="{DB9BC14B-3246-4B13-866D-B978DFA5F210}" dt="2022-05-09T10:46:27.118" v="103" actId="1076"/>
          <ac:picMkLst>
            <pc:docMk/>
            <pc:sldMk cId="2917693633" sldId="1046"/>
            <ac:picMk id="3" creationId="{9E1F1AD6-A20D-49A9-83AA-A692FEA1C275}"/>
          </ac:picMkLst>
        </pc:picChg>
        <pc:picChg chg="add mod">
          <ac:chgData name="Hardy Ullendahl" userId="84cf6375-3d5e-4a98-b3b8-3e3de2da94d7" providerId="ADAL" clId="{DB9BC14B-3246-4B13-866D-B978DFA5F210}" dt="2022-05-09T10:47:56.326" v="115" actId="1076"/>
          <ac:picMkLst>
            <pc:docMk/>
            <pc:sldMk cId="2917693633" sldId="1046"/>
            <ac:picMk id="6" creationId="{F0322EDB-D3D3-4E96-B296-40732485E525}"/>
          </ac:picMkLst>
        </pc:picChg>
        <pc:picChg chg="add mod">
          <ac:chgData name="Hardy Ullendahl" userId="84cf6375-3d5e-4a98-b3b8-3e3de2da94d7" providerId="ADAL" clId="{DB9BC14B-3246-4B13-866D-B978DFA5F210}" dt="2022-05-09T10:48:44.711" v="118" actId="14100"/>
          <ac:picMkLst>
            <pc:docMk/>
            <pc:sldMk cId="2917693633" sldId="1046"/>
            <ac:picMk id="8" creationId="{CC904729-BBEC-47E6-9C84-E998EBC93355}"/>
          </ac:picMkLst>
        </pc:picChg>
        <pc:picChg chg="add del mod">
          <ac:chgData name="Hardy Ullendahl" userId="84cf6375-3d5e-4a98-b3b8-3e3de2da94d7" providerId="ADAL" clId="{DB9BC14B-3246-4B13-866D-B978DFA5F210}" dt="2022-05-09T10:47:26.206" v="111" actId="478"/>
          <ac:picMkLst>
            <pc:docMk/>
            <pc:sldMk cId="2917693633" sldId="1046"/>
            <ac:picMk id="11" creationId="{C58C8BBB-A8E0-47AF-998B-404AD009CCCB}"/>
          </ac:picMkLst>
        </pc:picChg>
        <pc:picChg chg="add mod ord">
          <ac:chgData name="Hardy Ullendahl" userId="84cf6375-3d5e-4a98-b3b8-3e3de2da94d7" providerId="ADAL" clId="{DB9BC14B-3246-4B13-866D-B978DFA5F210}" dt="2022-05-06T11:28:55.810" v="19" actId="1076"/>
          <ac:picMkLst>
            <pc:docMk/>
            <pc:sldMk cId="2917693633" sldId="1046"/>
            <ac:picMk id="13" creationId="{5952BE24-4B5B-419D-BC48-6B8AD6588060}"/>
          </ac:picMkLst>
        </pc:picChg>
        <pc:picChg chg="add mod">
          <ac:chgData name="Hardy Ullendahl" userId="84cf6375-3d5e-4a98-b3b8-3e3de2da94d7" providerId="ADAL" clId="{DB9BC14B-3246-4B13-866D-B978DFA5F210}" dt="2022-05-09T10:48:59.496" v="120" actId="1076"/>
          <ac:picMkLst>
            <pc:docMk/>
            <pc:sldMk cId="2917693633" sldId="1046"/>
            <ac:picMk id="15" creationId="{F74AF2E1-CF1F-4271-B58C-103E0C5E4F4C}"/>
          </ac:picMkLst>
        </pc:picChg>
        <pc:picChg chg="add mod">
          <ac:chgData name="Hardy Ullendahl" userId="84cf6375-3d5e-4a98-b3b8-3e3de2da94d7" providerId="ADAL" clId="{DB9BC14B-3246-4B13-866D-B978DFA5F210}" dt="2022-05-06T11:28:53.440" v="18" actId="1076"/>
          <ac:picMkLst>
            <pc:docMk/>
            <pc:sldMk cId="2917693633" sldId="1046"/>
            <ac:picMk id="17" creationId="{F54DE1F0-527A-4B69-8305-DF0BBA7498C6}"/>
          </ac:picMkLst>
        </pc:picChg>
        <pc:picChg chg="add mod">
          <ac:chgData name="Hardy Ullendahl" userId="84cf6375-3d5e-4a98-b3b8-3e3de2da94d7" providerId="ADAL" clId="{DB9BC14B-3246-4B13-866D-B978DFA5F210}" dt="2022-05-06T11:28:58.178" v="20" actId="1076"/>
          <ac:picMkLst>
            <pc:docMk/>
            <pc:sldMk cId="2917693633" sldId="1046"/>
            <ac:picMk id="19" creationId="{1E760E2B-6FB1-43A9-B658-C5CD7DEA6A74}"/>
          </ac:picMkLst>
        </pc:picChg>
      </pc:sldChg>
      <pc:sldChg chg="delSp modSp mod">
        <pc:chgData name="Hardy Ullendahl" userId="84cf6375-3d5e-4a98-b3b8-3e3de2da94d7" providerId="ADAL" clId="{DB9BC14B-3246-4B13-866D-B978DFA5F210}" dt="2022-05-09T10:34:09.709" v="54" actId="14100"/>
        <pc:sldMkLst>
          <pc:docMk/>
          <pc:sldMk cId="3748649507" sldId="1047"/>
        </pc:sldMkLst>
        <pc:picChg chg="mod">
          <ac:chgData name="Hardy Ullendahl" userId="84cf6375-3d5e-4a98-b3b8-3e3de2da94d7" providerId="ADAL" clId="{DB9BC14B-3246-4B13-866D-B978DFA5F210}" dt="2022-05-09T10:34:09.709" v="54" actId="14100"/>
          <ac:picMkLst>
            <pc:docMk/>
            <pc:sldMk cId="3748649507" sldId="1047"/>
            <ac:picMk id="7" creationId="{A328BB26-5E4F-4560-9C16-CE2ADD3C08E4}"/>
          </ac:picMkLst>
        </pc:picChg>
        <pc:picChg chg="del">
          <ac:chgData name="Hardy Ullendahl" userId="84cf6375-3d5e-4a98-b3b8-3e3de2da94d7" providerId="ADAL" clId="{DB9BC14B-3246-4B13-866D-B978DFA5F210}" dt="2022-05-09T10:34:05.034" v="52" actId="478"/>
          <ac:picMkLst>
            <pc:docMk/>
            <pc:sldMk cId="3748649507" sldId="1047"/>
            <ac:picMk id="10" creationId="{148F71FB-4793-46AC-82EC-8A531536D3D1}"/>
          </ac:picMkLst>
        </pc:picChg>
      </pc:sldChg>
      <pc:sldChg chg="modSp mod modClrScheme chgLayout">
        <pc:chgData name="Hardy Ullendahl" userId="84cf6375-3d5e-4a98-b3b8-3e3de2da94d7" providerId="ADAL" clId="{DB9BC14B-3246-4B13-866D-B978DFA5F210}" dt="2022-05-09T10:43:59.933" v="95" actId="26606"/>
        <pc:sldMkLst>
          <pc:docMk/>
          <pc:sldMk cId="2183692814" sldId="1049"/>
        </pc:sldMkLst>
        <pc:spChg chg="mod ord">
          <ac:chgData name="Hardy Ullendahl" userId="84cf6375-3d5e-4a98-b3b8-3e3de2da94d7" providerId="ADAL" clId="{DB9BC14B-3246-4B13-866D-B978DFA5F210}" dt="2022-05-09T10:43:59.933" v="95" actId="26606"/>
          <ac:spMkLst>
            <pc:docMk/>
            <pc:sldMk cId="2183692814" sldId="1049"/>
            <ac:spMk id="4" creationId="{7E42B55F-8770-4F3F-8531-A8EDA3BF21D9}"/>
          </ac:spMkLst>
        </pc:spChg>
        <pc:spChg chg="mod ord">
          <ac:chgData name="Hardy Ullendahl" userId="84cf6375-3d5e-4a98-b3b8-3e3de2da94d7" providerId="ADAL" clId="{DB9BC14B-3246-4B13-866D-B978DFA5F210}" dt="2022-05-09T10:43:59.933" v="95" actId="26606"/>
          <ac:spMkLst>
            <pc:docMk/>
            <pc:sldMk cId="2183692814" sldId="1049"/>
            <ac:spMk id="9" creationId="{86E99EA3-413E-4F79-81E7-AA0C62BEB98D}"/>
          </ac:spMkLst>
        </pc:spChg>
        <pc:picChg chg="mod">
          <ac:chgData name="Hardy Ullendahl" userId="84cf6375-3d5e-4a98-b3b8-3e3de2da94d7" providerId="ADAL" clId="{DB9BC14B-3246-4B13-866D-B978DFA5F210}" dt="2022-05-09T10:43:59.933" v="95" actId="26606"/>
          <ac:picMkLst>
            <pc:docMk/>
            <pc:sldMk cId="2183692814" sldId="1049"/>
            <ac:picMk id="5" creationId="{F572363D-F442-4E59-96B1-ACD45BA739AE}"/>
          </ac:picMkLst>
        </pc:picChg>
        <pc:picChg chg="mod">
          <ac:chgData name="Hardy Ullendahl" userId="84cf6375-3d5e-4a98-b3b8-3e3de2da94d7" providerId="ADAL" clId="{DB9BC14B-3246-4B13-866D-B978DFA5F210}" dt="2022-05-09T10:43:59.933" v="95" actId="26606"/>
          <ac:picMkLst>
            <pc:docMk/>
            <pc:sldMk cId="2183692814" sldId="1049"/>
            <ac:picMk id="7" creationId="{9ABD1DFE-7372-4F84-8DCB-652BD5F90516}"/>
          </ac:picMkLst>
        </pc:picChg>
      </pc:sldChg>
      <pc:sldChg chg="addSp delSp modSp mod modClrScheme chgLayout">
        <pc:chgData name="Hardy Ullendahl" userId="84cf6375-3d5e-4a98-b3b8-3e3de2da94d7" providerId="ADAL" clId="{DB9BC14B-3246-4B13-866D-B978DFA5F210}" dt="2022-05-09T10:43:20.355" v="93" actId="478"/>
        <pc:sldMkLst>
          <pc:docMk/>
          <pc:sldMk cId="1185715223" sldId="1052"/>
        </pc:sldMkLst>
        <pc:spChg chg="mod">
          <ac:chgData name="Hardy Ullendahl" userId="84cf6375-3d5e-4a98-b3b8-3e3de2da94d7" providerId="ADAL" clId="{DB9BC14B-3246-4B13-866D-B978DFA5F210}" dt="2022-05-09T10:43:11.511" v="92" actId="26606"/>
          <ac:spMkLst>
            <pc:docMk/>
            <pc:sldMk cId="1185715223" sldId="1052"/>
            <ac:spMk id="4" creationId="{7E42B55F-8770-4F3F-8531-A8EDA3BF21D9}"/>
          </ac:spMkLst>
        </pc:spChg>
        <pc:spChg chg="mod">
          <ac:chgData name="Hardy Ullendahl" userId="84cf6375-3d5e-4a98-b3b8-3e3de2da94d7" providerId="ADAL" clId="{DB9BC14B-3246-4B13-866D-B978DFA5F210}" dt="2022-05-09T10:43:11.511" v="92" actId="26606"/>
          <ac:spMkLst>
            <pc:docMk/>
            <pc:sldMk cId="1185715223" sldId="1052"/>
            <ac:spMk id="9" creationId="{86E99EA3-413E-4F79-81E7-AA0C62BEB98D}"/>
          </ac:spMkLst>
        </pc:spChg>
        <pc:spChg chg="mod">
          <ac:chgData name="Hardy Ullendahl" userId="84cf6375-3d5e-4a98-b3b8-3e3de2da94d7" providerId="ADAL" clId="{DB9BC14B-3246-4B13-866D-B978DFA5F210}" dt="2022-05-09T10:43:11.511" v="92" actId="26606"/>
          <ac:spMkLst>
            <pc:docMk/>
            <pc:sldMk cId="1185715223" sldId="1052"/>
            <ac:spMk id="10" creationId="{CE73A60A-31E3-4B6D-8F7E-054B267BDCD2}"/>
          </ac:spMkLst>
        </pc:spChg>
        <pc:spChg chg="add del mod">
          <ac:chgData name="Hardy Ullendahl" userId="84cf6375-3d5e-4a98-b3b8-3e3de2da94d7" providerId="ADAL" clId="{DB9BC14B-3246-4B13-866D-B978DFA5F210}" dt="2022-05-09T10:43:20.355" v="93" actId="478"/>
          <ac:spMkLst>
            <pc:docMk/>
            <pc:sldMk cId="1185715223" sldId="1052"/>
            <ac:spMk id="15" creationId="{8CFB76A0-1ECF-D0E9-71CE-4C27B0C79CAD}"/>
          </ac:spMkLst>
        </pc:spChg>
        <pc:picChg chg="mod ord">
          <ac:chgData name="Hardy Ullendahl" userId="84cf6375-3d5e-4a98-b3b8-3e3de2da94d7" providerId="ADAL" clId="{DB9BC14B-3246-4B13-866D-B978DFA5F210}" dt="2022-05-09T10:43:11.511" v="92" actId="26606"/>
          <ac:picMkLst>
            <pc:docMk/>
            <pc:sldMk cId="1185715223" sldId="1052"/>
            <ac:picMk id="7" creationId="{875E26DF-65C3-4985-8A65-BA6C43BB1B1E}"/>
          </ac:picMkLst>
        </pc:picChg>
      </pc:sldChg>
      <pc:sldChg chg="addSp delSp modSp mod modClrScheme chgLayout">
        <pc:chgData name="Hardy Ullendahl" userId="84cf6375-3d5e-4a98-b3b8-3e3de2da94d7" providerId="ADAL" clId="{DB9BC14B-3246-4B13-866D-B978DFA5F210}" dt="2022-05-09T10:42:46.413" v="91" actId="20577"/>
        <pc:sldMkLst>
          <pc:docMk/>
          <pc:sldMk cId="587727285" sldId="1053"/>
        </pc:sldMkLst>
        <pc:spChg chg="mod">
          <ac:chgData name="Hardy Ullendahl" userId="84cf6375-3d5e-4a98-b3b8-3e3de2da94d7" providerId="ADAL" clId="{DB9BC14B-3246-4B13-866D-B978DFA5F210}" dt="2022-05-09T10:42:26.424" v="74" actId="26606"/>
          <ac:spMkLst>
            <pc:docMk/>
            <pc:sldMk cId="587727285" sldId="1053"/>
            <ac:spMk id="4" creationId="{7E42B55F-8770-4F3F-8531-A8EDA3BF21D9}"/>
          </ac:spMkLst>
        </pc:spChg>
        <pc:spChg chg="mod">
          <ac:chgData name="Hardy Ullendahl" userId="84cf6375-3d5e-4a98-b3b8-3e3de2da94d7" providerId="ADAL" clId="{DB9BC14B-3246-4B13-866D-B978DFA5F210}" dt="2022-05-09T10:42:26.424" v="74" actId="26606"/>
          <ac:spMkLst>
            <pc:docMk/>
            <pc:sldMk cId="587727285" sldId="1053"/>
            <ac:spMk id="9" creationId="{86E99EA3-413E-4F79-81E7-AA0C62BEB98D}"/>
          </ac:spMkLst>
        </pc:spChg>
        <pc:spChg chg="add del mod">
          <ac:chgData name="Hardy Ullendahl" userId="84cf6375-3d5e-4a98-b3b8-3e3de2da94d7" providerId="ADAL" clId="{DB9BC14B-3246-4B13-866D-B978DFA5F210}" dt="2022-05-09T10:42:26.420" v="73" actId="26606"/>
          <ac:spMkLst>
            <pc:docMk/>
            <pc:sldMk cId="587727285" sldId="1053"/>
            <ac:spMk id="14" creationId="{D56673D8-4DC1-8340-C6D9-0244EA5536BF}"/>
          </ac:spMkLst>
        </pc:spChg>
        <pc:spChg chg="add mod">
          <ac:chgData name="Hardy Ullendahl" userId="84cf6375-3d5e-4a98-b3b8-3e3de2da94d7" providerId="ADAL" clId="{DB9BC14B-3246-4B13-866D-B978DFA5F210}" dt="2022-05-09T10:42:46.413" v="91" actId="20577"/>
          <ac:spMkLst>
            <pc:docMk/>
            <pc:sldMk cId="587727285" sldId="1053"/>
            <ac:spMk id="16" creationId="{F90F7BEC-8438-6D15-5607-C4A6769A8266}"/>
          </ac:spMkLst>
        </pc:spChg>
        <pc:picChg chg="mod">
          <ac:chgData name="Hardy Ullendahl" userId="84cf6375-3d5e-4a98-b3b8-3e3de2da94d7" providerId="ADAL" clId="{DB9BC14B-3246-4B13-866D-B978DFA5F210}" dt="2022-05-09T10:42:26.424" v="74" actId="26606"/>
          <ac:picMkLst>
            <pc:docMk/>
            <pc:sldMk cId="587727285" sldId="1053"/>
            <ac:picMk id="3" creationId="{170044A8-3056-48DC-8888-D9ED8F2FA50B}"/>
          </ac:picMkLst>
        </pc:picChg>
        <pc:picChg chg="mod">
          <ac:chgData name="Hardy Ullendahl" userId="84cf6375-3d5e-4a98-b3b8-3e3de2da94d7" providerId="ADAL" clId="{DB9BC14B-3246-4B13-866D-B978DFA5F210}" dt="2022-05-09T10:42:26.424" v="74" actId="26606"/>
          <ac:picMkLst>
            <pc:docMk/>
            <pc:sldMk cId="587727285" sldId="1053"/>
            <ac:picMk id="6" creationId="{86BDD699-CF87-4E04-9EC7-3D6E58A30BA4}"/>
          </ac:picMkLst>
        </pc:picChg>
      </pc:sldChg>
      <pc:sldChg chg="addSp delSp modSp add mod">
        <pc:chgData name="Hardy Ullendahl" userId="84cf6375-3d5e-4a98-b3b8-3e3de2da94d7" providerId="ADAL" clId="{DB9BC14B-3246-4B13-866D-B978DFA5F210}" dt="2022-05-09T10:40:24.590" v="71" actId="1076"/>
        <pc:sldMkLst>
          <pc:docMk/>
          <pc:sldMk cId="2222652341" sldId="1054"/>
        </pc:sldMkLst>
        <pc:picChg chg="add del mod">
          <ac:chgData name="Hardy Ullendahl" userId="84cf6375-3d5e-4a98-b3b8-3e3de2da94d7" providerId="ADAL" clId="{DB9BC14B-3246-4B13-866D-B978DFA5F210}" dt="2022-05-09T08:56:12.702" v="40" actId="478"/>
          <ac:picMkLst>
            <pc:docMk/>
            <pc:sldMk cId="2222652341" sldId="1054"/>
            <ac:picMk id="3" creationId="{A6CC6E2B-90A0-4531-A844-0A0767B100B2}"/>
          </ac:picMkLst>
        </pc:picChg>
        <pc:picChg chg="add del mod">
          <ac:chgData name="Hardy Ullendahl" userId="84cf6375-3d5e-4a98-b3b8-3e3de2da94d7" providerId="ADAL" clId="{DB9BC14B-3246-4B13-866D-B978DFA5F210}" dt="2022-05-09T08:56:24.367" v="44" actId="22"/>
          <ac:picMkLst>
            <pc:docMk/>
            <pc:sldMk cId="2222652341" sldId="1054"/>
            <ac:picMk id="6" creationId="{B29417E7-4E7E-43D8-BDCC-C7C44FF2EED5}"/>
          </ac:picMkLst>
        </pc:picChg>
        <pc:picChg chg="add mod">
          <ac:chgData name="Hardy Ullendahl" userId="84cf6375-3d5e-4a98-b3b8-3e3de2da94d7" providerId="ADAL" clId="{DB9BC14B-3246-4B13-866D-B978DFA5F210}" dt="2022-05-09T08:56:43.237" v="46" actId="1076"/>
          <ac:picMkLst>
            <pc:docMk/>
            <pc:sldMk cId="2222652341" sldId="1054"/>
            <ac:picMk id="8" creationId="{41D5AC71-9AF9-47E1-9694-DC467FBF076A}"/>
          </ac:picMkLst>
        </pc:picChg>
        <pc:picChg chg="del">
          <ac:chgData name="Hardy Ullendahl" userId="84cf6375-3d5e-4a98-b3b8-3e3de2da94d7" providerId="ADAL" clId="{DB9BC14B-3246-4B13-866D-B978DFA5F210}" dt="2022-05-09T08:55:32.046" v="33" actId="478"/>
          <ac:picMkLst>
            <pc:docMk/>
            <pc:sldMk cId="2222652341" sldId="1054"/>
            <ac:picMk id="11" creationId="{C58C8BBB-A8E0-47AF-998B-404AD009CCCB}"/>
          </ac:picMkLst>
        </pc:picChg>
        <pc:picChg chg="add mod">
          <ac:chgData name="Hardy Ullendahl" userId="84cf6375-3d5e-4a98-b3b8-3e3de2da94d7" providerId="ADAL" clId="{DB9BC14B-3246-4B13-866D-B978DFA5F210}" dt="2022-05-09T10:31:43.409" v="48" actId="1076"/>
          <ac:picMkLst>
            <pc:docMk/>
            <pc:sldMk cId="2222652341" sldId="1054"/>
            <ac:picMk id="12" creationId="{235AC3A5-4ABD-4CBD-82A1-F29E4FADC2C4}"/>
          </ac:picMkLst>
        </pc:picChg>
        <pc:picChg chg="del">
          <ac:chgData name="Hardy Ullendahl" userId="84cf6375-3d5e-4a98-b3b8-3e3de2da94d7" providerId="ADAL" clId="{DB9BC14B-3246-4B13-866D-B978DFA5F210}" dt="2022-05-09T08:55:32.950" v="34" actId="478"/>
          <ac:picMkLst>
            <pc:docMk/>
            <pc:sldMk cId="2222652341" sldId="1054"/>
            <ac:picMk id="13" creationId="{5952BE24-4B5B-419D-BC48-6B8AD6588060}"/>
          </ac:picMkLst>
        </pc:picChg>
        <pc:picChg chg="del">
          <ac:chgData name="Hardy Ullendahl" userId="84cf6375-3d5e-4a98-b3b8-3e3de2da94d7" providerId="ADAL" clId="{DB9BC14B-3246-4B13-866D-B978DFA5F210}" dt="2022-05-09T08:55:34.942" v="37" actId="478"/>
          <ac:picMkLst>
            <pc:docMk/>
            <pc:sldMk cId="2222652341" sldId="1054"/>
            <ac:picMk id="15" creationId="{F74AF2E1-CF1F-4271-B58C-103E0C5E4F4C}"/>
          </ac:picMkLst>
        </pc:picChg>
        <pc:picChg chg="add mod">
          <ac:chgData name="Hardy Ullendahl" userId="84cf6375-3d5e-4a98-b3b8-3e3de2da94d7" providerId="ADAL" clId="{DB9BC14B-3246-4B13-866D-B978DFA5F210}" dt="2022-05-09T10:38:22.500" v="61" actId="1076"/>
          <ac:picMkLst>
            <pc:docMk/>
            <pc:sldMk cId="2222652341" sldId="1054"/>
            <ac:picMk id="16" creationId="{D3843107-0F5E-435D-93A2-59D6ED7FCBBD}"/>
          </ac:picMkLst>
        </pc:picChg>
        <pc:picChg chg="del">
          <ac:chgData name="Hardy Ullendahl" userId="84cf6375-3d5e-4a98-b3b8-3e3de2da94d7" providerId="ADAL" clId="{DB9BC14B-3246-4B13-866D-B978DFA5F210}" dt="2022-05-09T08:55:34.064" v="36" actId="478"/>
          <ac:picMkLst>
            <pc:docMk/>
            <pc:sldMk cId="2222652341" sldId="1054"/>
            <ac:picMk id="17" creationId="{F54DE1F0-527A-4B69-8305-DF0BBA7498C6}"/>
          </ac:picMkLst>
        </pc:picChg>
        <pc:picChg chg="del">
          <ac:chgData name="Hardy Ullendahl" userId="84cf6375-3d5e-4a98-b3b8-3e3de2da94d7" providerId="ADAL" clId="{DB9BC14B-3246-4B13-866D-B978DFA5F210}" dt="2022-05-09T08:55:33.623" v="35" actId="478"/>
          <ac:picMkLst>
            <pc:docMk/>
            <pc:sldMk cId="2222652341" sldId="1054"/>
            <ac:picMk id="19" creationId="{1E760E2B-6FB1-43A9-B658-C5CD7DEA6A74}"/>
          </ac:picMkLst>
        </pc:picChg>
        <pc:picChg chg="add mod">
          <ac:chgData name="Hardy Ullendahl" userId="84cf6375-3d5e-4a98-b3b8-3e3de2da94d7" providerId="ADAL" clId="{DB9BC14B-3246-4B13-866D-B978DFA5F210}" dt="2022-05-09T10:40:24.590" v="71" actId="1076"/>
          <ac:picMkLst>
            <pc:docMk/>
            <pc:sldMk cId="2222652341" sldId="1054"/>
            <ac:picMk id="20" creationId="{2D00B2A3-B1B8-4959-9323-49D5553B1FE9}"/>
          </ac:picMkLst>
        </pc:picChg>
        <pc:picChg chg="add del mod">
          <ac:chgData name="Hardy Ullendahl" userId="84cf6375-3d5e-4a98-b3b8-3e3de2da94d7" providerId="ADAL" clId="{DB9BC14B-3246-4B13-866D-B978DFA5F210}" dt="2022-05-09T10:40:13.631" v="66" actId="478"/>
          <ac:picMkLst>
            <pc:docMk/>
            <pc:sldMk cId="2222652341" sldId="1054"/>
            <ac:picMk id="22" creationId="{13DC0157-764C-4ADA-B8C3-6BA58A2A645F}"/>
          </ac:picMkLst>
        </pc:picChg>
        <pc:picChg chg="add mod">
          <ac:chgData name="Hardy Ullendahl" userId="84cf6375-3d5e-4a98-b3b8-3e3de2da94d7" providerId="ADAL" clId="{DB9BC14B-3246-4B13-866D-B978DFA5F210}" dt="2022-05-09T10:40:21.231" v="70" actId="14100"/>
          <ac:picMkLst>
            <pc:docMk/>
            <pc:sldMk cId="2222652341" sldId="1054"/>
            <ac:picMk id="24" creationId="{BE110F91-BE85-48F7-B218-861C9C06000F}"/>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1765684" y="9493500"/>
            <a:ext cx="2999747" cy="287509"/>
          </a:xfrm>
          <a:prstGeom prst="rect">
            <a:avLst/>
          </a:prstGeom>
        </p:spPr>
        <p:txBody>
          <a:bodyPr vert="horz" lIns="0" tIns="45651" rIns="0" bIns="45651" rtlCol="0" anchor="b"/>
          <a:lstStyle>
            <a:lvl1pPr algn="l">
              <a:defRPr sz="1200"/>
            </a:lvl1pPr>
          </a:lstStyle>
          <a:p>
            <a:endParaRPr lang="de-DE" sz="800" dirty="0"/>
          </a:p>
        </p:txBody>
      </p:sp>
      <p:sp>
        <p:nvSpPr>
          <p:cNvPr id="5" name="Foliennummernplatzhalter 4"/>
          <p:cNvSpPr>
            <a:spLocks noGrp="1"/>
          </p:cNvSpPr>
          <p:nvPr>
            <p:ph type="sldNum" sz="quarter" idx="3"/>
          </p:nvPr>
        </p:nvSpPr>
        <p:spPr>
          <a:xfrm>
            <a:off x="477281" y="9493500"/>
            <a:ext cx="431496" cy="287509"/>
          </a:xfrm>
          <a:prstGeom prst="rect">
            <a:avLst/>
          </a:prstGeom>
        </p:spPr>
        <p:txBody>
          <a:bodyPr vert="horz" lIns="0" tIns="45651" rIns="0" bIns="45651" rtlCol="0" anchor="b"/>
          <a:lstStyle>
            <a:lvl1pPr algn="r">
              <a:defRPr sz="1200"/>
            </a:lvl1pPr>
          </a:lstStyle>
          <a:p>
            <a:pPr algn="l"/>
            <a:fld id="{93C8CD6B-BF8D-416F-A23B-2FEDEDDDEC41}" type="slidenum">
              <a:rPr lang="de-DE" sz="800"/>
              <a:pPr algn="l"/>
              <a:t>‹Nr.›</a:t>
            </a:fld>
            <a:endParaRPr lang="de-DE" sz="800" dirty="0"/>
          </a:p>
        </p:txBody>
      </p:sp>
      <p:sp>
        <p:nvSpPr>
          <p:cNvPr id="6" name="Datumsplatzhalter 5"/>
          <p:cNvSpPr>
            <a:spLocks noGrp="1"/>
          </p:cNvSpPr>
          <p:nvPr>
            <p:ph type="dt" sz="quarter" idx="1"/>
          </p:nvPr>
        </p:nvSpPr>
        <p:spPr>
          <a:xfrm>
            <a:off x="936622" y="9493500"/>
            <a:ext cx="791076" cy="287509"/>
          </a:xfrm>
          <a:prstGeom prst="rect">
            <a:avLst/>
          </a:prstGeom>
        </p:spPr>
        <p:txBody>
          <a:bodyPr vert="horz" lIns="0" tIns="45651" rIns="0" bIns="45651" rtlCol="0" anchor="b"/>
          <a:lstStyle>
            <a:lvl1pPr algn="r">
              <a:defRPr sz="1200"/>
            </a:lvl1pPr>
          </a:lstStyle>
          <a:p>
            <a:pPr algn="l"/>
            <a:fld id="{B1F96D79-6067-4916-9196-ACC5CA8A87FE}" type="datetime1">
              <a:rPr lang="de-DE" sz="800" smtClean="0"/>
              <a:t>09.05.2022</a:t>
            </a:fld>
            <a:endParaRPr lang="de-DE" sz="800" dirty="0"/>
          </a:p>
        </p:txBody>
      </p:sp>
      <p:pic>
        <p:nvPicPr>
          <p:cNvPr id="8" name="Grafik 6">
            <a:extLst>
              <a:ext uri="{FF2B5EF4-FFF2-40B4-BE49-F238E27FC236}">
                <a16:creationId xmlns:a16="http://schemas.microsoft.com/office/drawing/2014/main" id="{C1F7D5E7-1573-4089-AF99-5F01F26321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5659" y="9420904"/>
            <a:ext cx="1440000" cy="359565"/>
          </a:xfrm>
          <a:prstGeom prst="rect">
            <a:avLst/>
          </a:prstGeom>
        </p:spPr>
      </p:pic>
    </p:spTree>
    <p:extLst>
      <p:ext uri="{BB962C8B-B14F-4D97-AF65-F5344CB8AC3E}">
        <p14:creationId xmlns:p14="http://schemas.microsoft.com/office/powerpoint/2010/main" val="1059778257"/>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2" pos="301" userDrawn="1">
          <p15:clr>
            <a:srgbClr val="F26B43"/>
          </p15:clr>
        </p15:guide>
        <p15:guide id="3" pos="397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953463" y="9565395"/>
            <a:ext cx="791076" cy="215685"/>
          </a:xfrm>
          <a:prstGeom prst="rect">
            <a:avLst/>
          </a:prstGeom>
        </p:spPr>
        <p:txBody>
          <a:bodyPr vert="horz" lIns="0" tIns="45651" rIns="0" bIns="45651" rtlCol="0" anchor="b"/>
          <a:lstStyle>
            <a:lvl1pPr algn="l">
              <a:defRPr sz="800"/>
            </a:lvl1pPr>
          </a:lstStyle>
          <a:p>
            <a:fld id="{ADCAF939-E25C-4790-A93F-696EA563D356}" type="datetime1">
              <a:rPr lang="de-DE" smtClean="0"/>
              <a:t>09.05.2022</a:t>
            </a:fld>
            <a:endParaRPr lang="de-DE" dirty="0"/>
          </a:p>
        </p:txBody>
      </p:sp>
      <p:sp>
        <p:nvSpPr>
          <p:cNvPr id="4" name="Folienbildplatzhalter 3"/>
          <p:cNvSpPr>
            <a:spLocks noGrp="1" noRot="1" noChangeAspect="1"/>
          </p:cNvSpPr>
          <p:nvPr>
            <p:ph type="sldImg" idx="2"/>
          </p:nvPr>
        </p:nvSpPr>
        <p:spPr>
          <a:xfrm>
            <a:off x="2102657" y="477838"/>
            <a:ext cx="4209243" cy="2369062"/>
          </a:xfrm>
          <a:prstGeom prst="rect">
            <a:avLst/>
          </a:prstGeom>
          <a:noFill/>
          <a:ln w="6350">
            <a:solidFill>
              <a:schemeClr val="accent5"/>
            </a:solidFill>
          </a:ln>
        </p:spPr>
        <p:txBody>
          <a:bodyPr vert="horz" lIns="91303" tIns="45651" rIns="91303" bIns="45651" rtlCol="0" anchor="ctr"/>
          <a:lstStyle/>
          <a:p>
            <a:endParaRPr lang="de-DE" dirty="0"/>
          </a:p>
        </p:txBody>
      </p:sp>
      <p:sp>
        <p:nvSpPr>
          <p:cNvPr id="5" name="Notizenplatzhalter 4"/>
          <p:cNvSpPr>
            <a:spLocks noGrp="1"/>
          </p:cNvSpPr>
          <p:nvPr>
            <p:ph type="body" sz="quarter" idx="3"/>
          </p:nvPr>
        </p:nvSpPr>
        <p:spPr>
          <a:xfrm>
            <a:off x="477838" y="3451903"/>
            <a:ext cx="5834062" cy="5610228"/>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6" name="Fußzeilenplatzhalter 5"/>
          <p:cNvSpPr>
            <a:spLocks noGrp="1"/>
          </p:cNvSpPr>
          <p:nvPr>
            <p:ph type="ftr" sz="quarter" idx="4"/>
          </p:nvPr>
        </p:nvSpPr>
        <p:spPr>
          <a:xfrm>
            <a:off x="1816864" y="9565395"/>
            <a:ext cx="3020493" cy="215685"/>
          </a:xfrm>
          <a:prstGeom prst="rect">
            <a:avLst/>
          </a:prstGeom>
        </p:spPr>
        <p:txBody>
          <a:bodyPr vert="horz" lIns="0" tIns="45651" rIns="0" bIns="45651" rtlCol="0" anchor="b"/>
          <a:lstStyle>
            <a:lvl1pPr algn="l">
              <a:defRPr sz="800"/>
            </a:lvl1pPr>
          </a:lstStyle>
          <a:p>
            <a:endParaRPr lang="de-DE" dirty="0"/>
          </a:p>
        </p:txBody>
      </p:sp>
      <p:sp>
        <p:nvSpPr>
          <p:cNvPr id="7" name="Foliennummernplatzhalter 6"/>
          <p:cNvSpPr>
            <a:spLocks noGrp="1"/>
          </p:cNvSpPr>
          <p:nvPr>
            <p:ph type="sldNum" sz="quarter" idx="5"/>
          </p:nvPr>
        </p:nvSpPr>
        <p:spPr>
          <a:xfrm>
            <a:off x="477281" y="9565325"/>
            <a:ext cx="431496" cy="215685"/>
          </a:xfrm>
          <a:prstGeom prst="rect">
            <a:avLst/>
          </a:prstGeom>
        </p:spPr>
        <p:txBody>
          <a:bodyPr vert="horz" lIns="0" tIns="45651" rIns="0" bIns="45651" rtlCol="0" anchor="b"/>
          <a:lstStyle>
            <a:lvl1pPr algn="l">
              <a:defRPr sz="800"/>
            </a:lvl1pPr>
          </a:lstStyle>
          <a:p>
            <a:fld id="{9CB64AB4-7874-472E-9B88-D201B44CC3AF}" type="slidenum">
              <a:rPr lang="de-DE" smtClean="0"/>
              <a:pPr/>
              <a:t>‹Nr.›</a:t>
            </a:fld>
            <a:endParaRPr lang="de-DE" dirty="0"/>
          </a:p>
        </p:txBody>
      </p:sp>
      <p:pic>
        <p:nvPicPr>
          <p:cNvPr id="9" name="Grafik 6">
            <a:extLst>
              <a:ext uri="{FF2B5EF4-FFF2-40B4-BE49-F238E27FC236}">
                <a16:creationId xmlns:a16="http://schemas.microsoft.com/office/drawing/2014/main" id="{B8F78486-E1F1-4146-97E6-344A2D77E4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5659" y="9420904"/>
            <a:ext cx="1440000" cy="359565"/>
          </a:xfrm>
          <a:prstGeom prst="rect">
            <a:avLst/>
          </a:prstGeom>
        </p:spPr>
      </p:pic>
    </p:spTree>
    <p:extLst>
      <p:ext uri="{BB962C8B-B14F-4D97-AF65-F5344CB8AC3E}">
        <p14:creationId xmlns:p14="http://schemas.microsoft.com/office/powerpoint/2010/main" val="1984523062"/>
      </p:ext>
    </p:extLst>
  </p:cSld>
  <p:clrMap bg1="lt1" tx1="dk1" bg2="lt2" tx2="dk2" accent1="accent1" accent2="accent2" accent3="accent3" accent4="accent4" accent5="accent5" accent6="accent6" hlink="hlink" folHlink="folHlink"/>
  <p:hf/>
  <p:notesStyle>
    <a:lvl1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cap="none" baseline="0">
        <a:solidFill>
          <a:schemeClr val="accent1"/>
        </a:solidFill>
        <a:latin typeface="+mn-lt"/>
        <a:ea typeface="+mn-ea"/>
        <a:cs typeface="+mn-cs"/>
      </a:defRPr>
    </a:lvl1pPr>
    <a:lvl2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a:solidFill>
          <a:schemeClr val="tx1"/>
        </a:solidFill>
        <a:latin typeface="+mn-lt"/>
        <a:ea typeface="+mn-ea"/>
        <a:cs typeface="+mn-cs"/>
      </a:defRPr>
    </a:lvl2pPr>
    <a:lvl3pPr marL="180000" marR="0" indent="-18000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Char char="§"/>
      <a:tabLst/>
      <a:defRPr sz="1200" kern="1200">
        <a:solidFill>
          <a:schemeClr val="tx1"/>
        </a:solidFill>
        <a:latin typeface="+mn-lt"/>
        <a:ea typeface="+mn-ea"/>
        <a:cs typeface="+mn-cs"/>
      </a:defRPr>
    </a:lvl3pPr>
    <a:lvl4pPr marL="36000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4pPr>
    <a:lvl5pPr marL="53975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5pPr>
    <a:lvl6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6pPr>
    <a:lvl7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7pPr>
    <a:lvl8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8pPr>
    <a:lvl9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3976" userDrawn="1">
          <p15:clr>
            <a:srgbClr val="F26B43"/>
          </p15:clr>
        </p15:guide>
        <p15:guide id="2" orient="horz" pos="301" userDrawn="1">
          <p15:clr>
            <a:srgbClr val="F26B43"/>
          </p15:clr>
        </p15:guide>
        <p15:guide id="3" pos="301" userDrawn="1">
          <p15:clr>
            <a:srgbClr val="F26B43"/>
          </p15:clr>
        </p15:guide>
      </p15:sldGuideLst>
    </p:ext>
  </p:extLst>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7.pn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chemeClr val="bg1"/>
        </a:solidFill>
        <a:effectLst/>
      </p:bgPr>
    </p:bg>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accent2"/>
          </a:solidFill>
        </p:spPr>
        <p:txBody>
          <a:bodyPr wrap="square" lIns="0" tIns="0" bIns="648000" anchor="ctr">
            <a:noAutofit/>
          </a:bodyPr>
          <a:lstStyle>
            <a:lvl1pPr marL="0" indent="0" algn="ctr">
              <a:buNone/>
              <a:defRPr sz="1200" cap="none" baseline="0">
                <a:solidFill>
                  <a:schemeClr val="tx1"/>
                </a:solidFill>
              </a:defRPr>
            </a:lvl1pPr>
          </a:lstStyle>
          <a:p>
            <a:endParaRPr lang="de-DE" dirty="0"/>
          </a:p>
        </p:txBody>
      </p:sp>
      <p:sp>
        <p:nvSpPr>
          <p:cNvPr id="10" name="Titel 12">
            <a:extLst>
              <a:ext uri="{FF2B5EF4-FFF2-40B4-BE49-F238E27FC236}">
                <a16:creationId xmlns:a16="http://schemas.microsoft.com/office/drawing/2014/main" id="{56505D9B-37B7-43A5-8C37-4A28E0345DC3}"/>
              </a:ext>
            </a:extLst>
          </p:cNvPr>
          <p:cNvSpPr>
            <a:spLocks noGrp="1"/>
          </p:cNvSpPr>
          <p:nvPr>
            <p:ph type="ctrTitle" hasCustomPrompt="1"/>
          </p:nvPr>
        </p:nvSpPr>
        <p:spPr bwMode="gray">
          <a:xfrm>
            <a:off x="0" y="0"/>
            <a:ext cx="6095206" cy="3393546"/>
          </a:xfrm>
          <a:custGeom>
            <a:avLst/>
            <a:gdLst>
              <a:gd name="connsiteX0" fmla="*/ 0 w 6095206"/>
              <a:gd name="connsiteY0" fmla="*/ 0 h 3393546"/>
              <a:gd name="connsiteX1" fmla="*/ 6095206 w 6095206"/>
              <a:gd name="connsiteY1" fmla="*/ 0 h 3393546"/>
              <a:gd name="connsiteX2" fmla="*/ 6095206 w 6095206"/>
              <a:gd name="connsiteY2" fmla="*/ 3088765 h 3393546"/>
              <a:gd name="connsiteX3" fmla="*/ 6077723 w 6095206"/>
              <a:gd name="connsiteY3" fmla="*/ 3092188 h 3393546"/>
              <a:gd name="connsiteX4" fmla="*/ 3047672 w 6095206"/>
              <a:gd name="connsiteY4" fmla="*/ 3393546 h 3393546"/>
              <a:gd name="connsiteX5" fmla="*/ 0 w 6095206"/>
              <a:gd name="connsiteY5" fmla="*/ 3088765 h 339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206" h="3393546">
                <a:moveTo>
                  <a:pt x="0" y="0"/>
                </a:moveTo>
                <a:lnTo>
                  <a:pt x="6095206" y="0"/>
                </a:lnTo>
                <a:lnTo>
                  <a:pt x="6095206" y="3088765"/>
                </a:lnTo>
                <a:lnTo>
                  <a:pt x="6077723" y="3092188"/>
                </a:lnTo>
                <a:cubicBezTo>
                  <a:pt x="5904736" y="3125672"/>
                  <a:pt x="4476205" y="3393546"/>
                  <a:pt x="3047672" y="3393546"/>
                </a:cubicBezTo>
                <a:cubicBezTo>
                  <a:pt x="1523905" y="3393546"/>
                  <a:pt x="0" y="3088765"/>
                  <a:pt x="0" y="3088765"/>
                </a:cubicBezTo>
                <a:close/>
              </a:path>
            </a:pathLst>
          </a:custGeom>
          <a:solidFill>
            <a:schemeClr val="accent1">
              <a:alpha val="90000"/>
            </a:schemeClr>
          </a:solidFill>
        </p:spPr>
        <p:txBody>
          <a:bodyPr wrap="square" lIns="547200" tIns="478800" rIns="468000">
            <a:noAutofit/>
          </a:bodyPr>
          <a:lstStyle>
            <a:lvl1pPr>
              <a:defRPr sz="3200" baseline="0">
                <a:solidFill>
                  <a:schemeClr val="bg1"/>
                </a:solidFill>
              </a:defRPr>
            </a:lvl1pPr>
          </a:lstStyle>
          <a:p>
            <a:r>
              <a:rPr lang="en-US" dirty="0"/>
              <a:t>Here is a long</a:t>
            </a:r>
            <a:br>
              <a:rPr lang="en-US" dirty="0"/>
            </a:br>
            <a:r>
              <a:rPr lang="en-US" dirty="0"/>
              <a:t>Headline </a:t>
            </a:r>
            <a:r>
              <a:rPr lang="en-US" dirty="0" err="1"/>
              <a:t>32pt</a:t>
            </a:r>
            <a:endParaRPr lang="de-DE" dirty="0"/>
          </a:p>
        </p:txBody>
      </p:sp>
      <p:sp>
        <p:nvSpPr>
          <p:cNvPr id="13" name="Untertitel 2">
            <a:extLst>
              <a:ext uri="{FF2B5EF4-FFF2-40B4-BE49-F238E27FC236}">
                <a16:creationId xmlns:a16="http://schemas.microsoft.com/office/drawing/2014/main" id="{7A2ADD57-1ACA-4257-8277-96D2B0CD0471}"/>
              </a:ext>
            </a:extLst>
          </p:cNvPr>
          <p:cNvSpPr>
            <a:spLocks noGrp="1"/>
          </p:cNvSpPr>
          <p:nvPr>
            <p:ph type="subTitle" idx="1" hasCustomPrompt="1"/>
          </p:nvPr>
        </p:nvSpPr>
        <p:spPr bwMode="gray">
          <a:xfrm>
            <a:off x="550436" y="1701554"/>
            <a:ext cx="5112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a:t>
            </a:r>
            <a:r>
              <a:rPr lang="en-US" dirty="0" err="1"/>
              <a:t>Subheadline</a:t>
            </a:r>
            <a:r>
              <a:rPr lang="en-US" dirty="0"/>
              <a:t> </a:t>
            </a:r>
            <a:r>
              <a:rPr lang="en-US" dirty="0" err="1"/>
              <a:t>20pt</a:t>
            </a:r>
            <a:endParaRPr lang="en-US" dirty="0"/>
          </a:p>
        </p:txBody>
      </p:sp>
    </p:spTree>
    <p:extLst>
      <p:ext uri="{BB962C8B-B14F-4D97-AF65-F5344CB8AC3E}">
        <p14:creationId xmlns:p14="http://schemas.microsoft.com/office/powerpoint/2010/main" val="7919510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overview">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50436" y="405374"/>
            <a:ext cx="11088688" cy="432000"/>
          </a:xfrm>
        </p:spPr>
        <p:txBody>
          <a:bodyPr/>
          <a:lstStyle>
            <a:lvl1pPr>
              <a:defRPr/>
            </a:lvl1pPr>
          </a:lstStyle>
          <a:p>
            <a:r>
              <a:rPr lang="en-US" dirty="0"/>
              <a:t>Agenda overview</a:t>
            </a:r>
          </a:p>
        </p:txBody>
      </p:sp>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10" name="Tabellenplatzhalter 9"/>
          <p:cNvSpPr>
            <a:spLocks noGrp="1"/>
          </p:cNvSpPr>
          <p:nvPr>
            <p:ph type="tbl" sz="quarter" idx="13" hasCustomPrompt="1"/>
          </p:nvPr>
        </p:nvSpPr>
        <p:spPr bwMode="gray">
          <a:xfrm>
            <a:off x="551288" y="1269494"/>
            <a:ext cx="11088688" cy="4680000"/>
          </a:xfrm>
        </p:spPr>
        <p:txBody>
          <a:bodyPr/>
          <a:lstStyle>
            <a:lvl1pPr>
              <a:defRPr cap="none" baseline="0"/>
            </a:lvl1pPr>
          </a:lstStyle>
          <a:p>
            <a:pPr lvl="0"/>
            <a:r>
              <a:rPr lang="en-US" dirty="0"/>
              <a:t> </a:t>
            </a:r>
          </a:p>
        </p:txBody>
      </p:sp>
    </p:spTree>
    <p:extLst>
      <p:ext uri="{BB962C8B-B14F-4D97-AF65-F5344CB8AC3E}">
        <p14:creationId xmlns:p14="http://schemas.microsoft.com/office/powerpoint/2010/main" val="2931333212"/>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0436" y="405374"/>
            <a:ext cx="11087100" cy="432000"/>
          </a:xfrm>
        </p:spPr>
        <p:txBody>
          <a:bodyPr/>
          <a:lstStyle>
            <a:lvl1pPr>
              <a:defRPr baseline="0"/>
            </a:lvl1pPr>
          </a:lstStyle>
          <a:p>
            <a:r>
              <a:rPr lang="en-US" dirty="0"/>
              <a:t>Statement</a:t>
            </a:r>
          </a:p>
        </p:txBody>
      </p:sp>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12" name="Textplatzhalter 10">
            <a:extLst>
              <a:ext uri="{FF2B5EF4-FFF2-40B4-BE49-F238E27FC236}">
                <a16:creationId xmlns:a16="http://schemas.microsoft.com/office/drawing/2014/main" id="{3AD79EE0-A32F-415B-9D94-533343ECAB0E}"/>
              </a:ext>
            </a:extLst>
          </p:cNvPr>
          <p:cNvSpPr>
            <a:spLocks noGrp="1"/>
          </p:cNvSpPr>
          <p:nvPr>
            <p:ph type="body" sz="quarter" idx="13" hasCustomPrompt="1"/>
          </p:nvPr>
        </p:nvSpPr>
        <p:spPr bwMode="gray">
          <a:xfrm>
            <a:off x="550436" y="1549400"/>
            <a:ext cx="11088000" cy="4400744"/>
          </a:xfrm>
        </p:spPr>
        <p:txBody>
          <a:bodyPr/>
          <a:lstStyle>
            <a:lvl1pPr marL="0" indent="0">
              <a:lnSpc>
                <a:spcPct val="100000"/>
              </a:lnSpc>
              <a:buFont typeface="Arial" panose="020B0604020202020204" pitchFamily="34" charset="0"/>
              <a:buNone/>
              <a:defRPr sz="4800" cap="none" baseline="0">
                <a:solidFill>
                  <a:schemeClr val="accent5"/>
                </a:solidFill>
              </a:defRPr>
            </a:lvl1pPr>
            <a:lvl2pPr marL="0" indent="0">
              <a:buFont typeface="Arial" panose="020B0604020202020204" pitchFamily="34" charset="0"/>
              <a:buNone/>
              <a:defRPr sz="4800">
                <a:solidFill>
                  <a:schemeClr val="accent1"/>
                </a:solidFill>
              </a:defRPr>
            </a:lvl2pPr>
            <a:lvl3pPr marL="0" indent="0">
              <a:buNone/>
              <a:defRPr sz="4800">
                <a:solidFill>
                  <a:schemeClr val="accent1"/>
                </a:solidFill>
              </a:defRPr>
            </a:lvl3pPr>
            <a:lvl4pPr marL="0" indent="0">
              <a:buNone/>
              <a:defRPr sz="4800">
                <a:solidFill>
                  <a:schemeClr val="accent1"/>
                </a:solidFill>
              </a:defRPr>
            </a:lvl4pPr>
            <a:lvl5pPr marL="0" indent="0">
              <a:buNone/>
              <a:defRPr sz="4800">
                <a:solidFill>
                  <a:schemeClr val="accent1"/>
                </a:solidFill>
              </a:defRPr>
            </a:lvl5pPr>
            <a:lvl6pPr marL="0" indent="0">
              <a:buNone/>
              <a:defRPr sz="4800">
                <a:solidFill>
                  <a:schemeClr val="accent1"/>
                </a:solidFill>
              </a:defRPr>
            </a:lvl6pPr>
            <a:lvl7pPr marL="0" indent="0">
              <a:buNone/>
              <a:defRPr sz="4800">
                <a:solidFill>
                  <a:schemeClr val="tx2"/>
                </a:solidFill>
              </a:defRPr>
            </a:lvl7pPr>
            <a:lvl8pPr marL="0" indent="0">
              <a:buNone/>
              <a:defRPr sz="4800">
                <a:solidFill>
                  <a:schemeClr val="tx2"/>
                </a:solidFill>
              </a:defRPr>
            </a:lvl8pPr>
            <a:lvl9pPr marL="0" indent="0">
              <a:buNone/>
              <a:defRPr sz="4800">
                <a:solidFill>
                  <a:schemeClr val="tx2"/>
                </a:solidFill>
              </a:defRPr>
            </a:lvl9pPr>
          </a:lstStyle>
          <a:p>
            <a:pPr lvl="0"/>
            <a:r>
              <a:rPr lang="de-DE" dirty="0"/>
              <a:t>»</a:t>
            </a:r>
            <a:r>
              <a:rPr lang="en-US" dirty="0"/>
              <a:t>The past is your lesson. The present is your gift. The future is your motivation.</a:t>
            </a:r>
            <a:r>
              <a:rPr lang="de-DE" dirty="0"/>
              <a:t>«</a:t>
            </a:r>
          </a:p>
        </p:txBody>
      </p:sp>
    </p:spTree>
    <p:extLst>
      <p:ext uri="{BB962C8B-B14F-4D97-AF65-F5344CB8AC3E}">
        <p14:creationId xmlns:p14="http://schemas.microsoft.com/office/powerpoint/2010/main" val="2163954403"/>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3" name="Inhaltsplatzhalter 2"/>
          <p:cNvSpPr>
            <a:spLocks noGrp="1"/>
          </p:cNvSpPr>
          <p:nvPr>
            <p:ph sz="quarter" idx="13" hasCustomPrompt="1"/>
          </p:nvPr>
        </p:nvSpPr>
        <p:spPr bwMode="gray">
          <a:xfrm>
            <a:off x="550800" y="1701799"/>
            <a:ext cx="11088000" cy="4248000"/>
          </a:xfrm>
        </p:spPr>
        <p:txBody>
          <a:bodyPr/>
          <a:lstStyle>
            <a:lvl1pPr>
              <a:defRPr/>
            </a:lvl1pPr>
            <a:lvl2pPr>
              <a:defRPr/>
            </a:lvl2pPr>
            <a:lvl3pPr>
              <a:defRPr/>
            </a:lvl3pPr>
            <a:lvl4pPr>
              <a:defRPr/>
            </a:lvl4pPr>
            <a:lvl5pPr>
              <a:defRPr/>
            </a:lvl5pPr>
            <a:lvl6pPr>
              <a:defRPr/>
            </a:lvl6pPr>
            <a:lvl7pPr>
              <a:defRPr/>
            </a:lvl7pPr>
            <a:lvl8pPr marL="539750" indent="-180975">
              <a:buFont typeface="Symbol" panose="05050102010706020507" pitchFamily="18" charset="2"/>
              <a:buChar cha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2" name="Titel 1">
            <a:extLst>
              <a:ext uri="{FF2B5EF4-FFF2-40B4-BE49-F238E27FC236}">
                <a16:creationId xmlns:a16="http://schemas.microsoft.com/office/drawing/2014/main" id="{40FCE74B-5EB4-4B51-BECA-018A0CECA70C}"/>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809469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3" name="Inhaltsplatzhalter 2"/>
          <p:cNvSpPr>
            <a:spLocks noGrp="1"/>
          </p:cNvSpPr>
          <p:nvPr>
            <p:ph sz="quarter" idx="14" hasCustomPrompt="1"/>
          </p:nvPr>
        </p:nvSpPr>
        <p:spPr bwMode="gray">
          <a:xfrm>
            <a:off x="6239976" y="1701799"/>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Inhaltsplatzhalter 2"/>
          <p:cNvSpPr>
            <a:spLocks noGrp="1"/>
          </p:cNvSpPr>
          <p:nvPr>
            <p:ph sz="quarter" idx="15" hasCustomPrompt="1"/>
          </p:nvPr>
        </p:nvSpPr>
        <p:spPr bwMode="gray">
          <a:xfrm>
            <a:off x="550436" y="1701554"/>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1"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2" name="Titel 1">
            <a:extLst>
              <a:ext uri="{FF2B5EF4-FFF2-40B4-BE49-F238E27FC236}">
                <a16:creationId xmlns:a16="http://schemas.microsoft.com/office/drawing/2014/main" id="{EC36A057-0737-402F-82C3-0D022DF2C917}"/>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1911460694"/>
      </p:ext>
    </p:extLst>
  </p:cSld>
  <p:clrMapOvr>
    <a:masterClrMapping/>
  </p:clrMapOvr>
  <p:extLst>
    <p:ext uri="{DCECCB84-F9BA-43D5-87BE-67443E8EF086}">
      <p15:sldGuideLst xmlns:p15="http://schemas.microsoft.com/office/powerpoint/2012/main">
        <p15:guide id="1" pos="3930" userDrawn="1">
          <p15:clr>
            <a:srgbClr val="FBAE40"/>
          </p15:clr>
        </p15:guide>
        <p15:guide id="2" pos="374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3" name="Inhaltsplatzhalter 2"/>
          <p:cNvSpPr>
            <a:spLocks noGrp="1"/>
          </p:cNvSpPr>
          <p:nvPr>
            <p:ph sz="quarter" idx="14" hasCustomPrompt="1"/>
          </p:nvPr>
        </p:nvSpPr>
        <p:spPr bwMode="gray">
          <a:xfrm>
            <a:off x="55043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Inhaltsplatzhalter 2"/>
          <p:cNvSpPr>
            <a:spLocks noGrp="1"/>
          </p:cNvSpPr>
          <p:nvPr>
            <p:ph sz="quarter" idx="17" hasCustomPrompt="1"/>
          </p:nvPr>
        </p:nvSpPr>
        <p:spPr bwMode="gray">
          <a:xfrm>
            <a:off x="436696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6" name="Inhaltsplatzhalter 2"/>
          <p:cNvSpPr>
            <a:spLocks noGrp="1"/>
          </p:cNvSpPr>
          <p:nvPr>
            <p:ph sz="quarter" idx="18" hasCustomPrompt="1"/>
          </p:nvPr>
        </p:nvSpPr>
        <p:spPr bwMode="gray">
          <a:xfrm>
            <a:off x="818397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2" name="Titel 1">
            <a:extLst>
              <a:ext uri="{FF2B5EF4-FFF2-40B4-BE49-F238E27FC236}">
                <a16:creationId xmlns:a16="http://schemas.microsoft.com/office/drawing/2014/main" id="{C0A1F251-4F3D-4A55-AA12-3B04D1752913}"/>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904483606"/>
      </p:ext>
    </p:extLst>
  </p:cSld>
  <p:clrMapOvr>
    <a:masterClrMapping/>
  </p:clrMapOvr>
  <p:extLst>
    <p:ext uri="{DCECCB84-F9BA-43D5-87BE-67443E8EF086}">
      <p15:sldGuideLst xmlns:p15="http://schemas.microsoft.com/office/powerpoint/2012/main">
        <p15:guide id="1" pos="4929" userDrawn="1">
          <p15:clr>
            <a:srgbClr val="FBAE40"/>
          </p15:clr>
        </p15:guide>
        <p15:guide id="2" pos="2750" userDrawn="1">
          <p15:clr>
            <a:srgbClr val="FBAE40"/>
          </p15:clr>
        </p15:guide>
        <p15:guide id="3" pos="2525" userDrawn="1">
          <p15:clr>
            <a:srgbClr val="FBAE40"/>
          </p15:clr>
        </p15:guide>
        <p15:guide id="4" pos="515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3" name="Inhaltsplatzhalter 2"/>
          <p:cNvSpPr>
            <a:spLocks noGrp="1"/>
          </p:cNvSpPr>
          <p:nvPr>
            <p:ph sz="quarter" idx="14" hasCustomPrompt="1"/>
          </p:nvPr>
        </p:nvSpPr>
        <p:spPr bwMode="gray">
          <a:xfrm>
            <a:off x="5504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Inhaltsplatzhalter 2"/>
          <p:cNvSpPr>
            <a:spLocks noGrp="1"/>
          </p:cNvSpPr>
          <p:nvPr>
            <p:ph sz="quarter" idx="18" hasCustomPrompt="1"/>
          </p:nvPr>
        </p:nvSpPr>
        <p:spPr bwMode="gray">
          <a:xfrm>
            <a:off x="34308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9" name="Inhaltsplatzhalter 2"/>
          <p:cNvSpPr>
            <a:spLocks noGrp="1"/>
          </p:cNvSpPr>
          <p:nvPr>
            <p:ph sz="quarter" idx="19" hasCustomPrompt="1"/>
          </p:nvPr>
        </p:nvSpPr>
        <p:spPr bwMode="gray">
          <a:xfrm>
            <a:off x="6311470"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0" name="Inhaltsplatzhalter 2"/>
          <p:cNvSpPr>
            <a:spLocks noGrp="1"/>
          </p:cNvSpPr>
          <p:nvPr>
            <p:ph sz="quarter" idx="20" hasCustomPrompt="1"/>
          </p:nvPr>
        </p:nvSpPr>
        <p:spPr bwMode="gray">
          <a:xfrm>
            <a:off x="919198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2" name="Titel 1">
            <a:extLst>
              <a:ext uri="{FF2B5EF4-FFF2-40B4-BE49-F238E27FC236}">
                <a16:creationId xmlns:a16="http://schemas.microsoft.com/office/drawing/2014/main" id="{50E2F8D7-F45E-4EEF-8F40-F0F827E63B9D}"/>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1837758675"/>
      </p:ext>
    </p:extLst>
  </p:cSld>
  <p:clrMapOvr>
    <a:masterClrMapping/>
  </p:clrMapOvr>
  <p:extLst>
    <p:ext uri="{DCECCB84-F9BA-43D5-87BE-67443E8EF086}">
      <p15:sldGuideLst xmlns:p15="http://schemas.microsoft.com/office/powerpoint/2012/main">
        <p15:guide id="1" pos="2160" userDrawn="1">
          <p15:clr>
            <a:srgbClr val="FBAE40"/>
          </p15:clr>
        </p15:guide>
        <p15:guide id="2" pos="1890" userDrawn="1">
          <p15:clr>
            <a:srgbClr val="FBAE40"/>
          </p15:clr>
        </p15:guide>
        <p15:guide id="3" pos="3975" userDrawn="1">
          <p15:clr>
            <a:srgbClr val="FBAE40"/>
          </p15:clr>
        </p15:guide>
        <p15:guide id="4" pos="3704" userDrawn="1">
          <p15:clr>
            <a:srgbClr val="FBAE40"/>
          </p15:clr>
        </p15:guide>
        <p15:guide id="5" pos="5790" userDrawn="1">
          <p15:clr>
            <a:srgbClr val="FBAE40"/>
          </p15:clr>
        </p15:guide>
        <p15:guide id="6" pos="551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3" name="Inhaltsplatzhalter 2"/>
          <p:cNvSpPr>
            <a:spLocks noGrp="1"/>
          </p:cNvSpPr>
          <p:nvPr>
            <p:ph sz="quarter" idx="14" hasCustomPrompt="1"/>
          </p:nvPr>
        </p:nvSpPr>
        <p:spPr bwMode="gray">
          <a:xfrm>
            <a:off x="550436" y="1701554"/>
            <a:ext cx="2448000" cy="2016000"/>
          </a:xfrm>
        </p:spPr>
        <p:txBody>
          <a:bodyPr/>
          <a:lstStyle>
            <a:lvl1pPr>
              <a:defRPr sz="1400"/>
            </a:lvl1pPr>
            <a:lvl2pPr>
              <a:defRPr sz="1400"/>
            </a:lvl2pPr>
            <a:lvl3pPr>
              <a:defRPr sz="1400"/>
            </a:lvl3pPr>
            <a:lvl4pPr>
              <a:defRPr sz="1400"/>
            </a:lvl4pPr>
            <a:lvl5pPr>
              <a:defRPr sz="1400" baseline="0"/>
            </a:lvl5pPr>
            <a:lvl6pPr marL="539750" indent="-180975">
              <a:buFont typeface="Symbol" panose="05050102010706020507" pitchFamily="18" charset="2"/>
              <a:buChar cha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Inhaltsplatzhalter 2"/>
          <p:cNvSpPr>
            <a:spLocks noGrp="1"/>
          </p:cNvSpPr>
          <p:nvPr>
            <p:ph sz="quarter" idx="21" hasCustomPrompt="1"/>
          </p:nvPr>
        </p:nvSpPr>
        <p:spPr bwMode="gray">
          <a:xfrm>
            <a:off x="5504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1" name="Inhaltsplatzhalter 2"/>
          <p:cNvSpPr>
            <a:spLocks noGrp="1"/>
          </p:cNvSpPr>
          <p:nvPr>
            <p:ph sz="quarter" idx="22" hasCustomPrompt="1"/>
          </p:nvPr>
        </p:nvSpPr>
        <p:spPr bwMode="gray">
          <a:xfrm>
            <a:off x="34308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2" name="Inhaltsplatzhalter 2"/>
          <p:cNvSpPr>
            <a:spLocks noGrp="1"/>
          </p:cNvSpPr>
          <p:nvPr>
            <p:ph sz="quarter" idx="23" hasCustomPrompt="1"/>
          </p:nvPr>
        </p:nvSpPr>
        <p:spPr bwMode="gray">
          <a:xfrm>
            <a:off x="34308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3" name="Inhaltsplatzhalter 2"/>
          <p:cNvSpPr>
            <a:spLocks noGrp="1"/>
          </p:cNvSpPr>
          <p:nvPr>
            <p:ph sz="quarter" idx="24" hasCustomPrompt="1"/>
          </p:nvPr>
        </p:nvSpPr>
        <p:spPr bwMode="gray">
          <a:xfrm>
            <a:off x="91916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4" name="Inhaltsplatzhalter 2"/>
          <p:cNvSpPr>
            <a:spLocks noGrp="1"/>
          </p:cNvSpPr>
          <p:nvPr>
            <p:ph sz="quarter" idx="25" hasCustomPrompt="1"/>
          </p:nvPr>
        </p:nvSpPr>
        <p:spPr bwMode="gray">
          <a:xfrm>
            <a:off x="91916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Inhaltsplatzhalter 2"/>
          <p:cNvSpPr>
            <a:spLocks noGrp="1"/>
          </p:cNvSpPr>
          <p:nvPr>
            <p:ph sz="quarter" idx="26" hasCustomPrompt="1"/>
          </p:nvPr>
        </p:nvSpPr>
        <p:spPr bwMode="gray">
          <a:xfrm>
            <a:off x="63112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6" name="Inhaltsplatzhalter 2"/>
          <p:cNvSpPr>
            <a:spLocks noGrp="1"/>
          </p:cNvSpPr>
          <p:nvPr>
            <p:ph sz="quarter" idx="27" hasCustomPrompt="1"/>
          </p:nvPr>
        </p:nvSpPr>
        <p:spPr bwMode="gray">
          <a:xfrm>
            <a:off x="63112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600">
                <a:solidFill>
                  <a:schemeClr val="tx2"/>
                </a:solidFill>
              </a:defRPr>
            </a:lvl7pPr>
            <a:lvl8pPr marL="0" indent="0">
              <a:buNone/>
              <a:defRPr sz="1600">
                <a:solidFill>
                  <a:schemeClr val="tx2"/>
                </a:solidFill>
              </a:defRPr>
            </a:lvl8pPr>
            <a:lvl9pPr marL="0" indent="0">
              <a:buNone/>
              <a:defRPr sz="1600">
                <a:solidFill>
                  <a:schemeClr val="tx2"/>
                </a:solidFill>
              </a:defRPr>
            </a:lvl9pPr>
          </a:lstStyle>
          <a:p>
            <a:pPr lvl="0"/>
            <a:r>
              <a:rPr lang="en-US" dirty="0" err="1"/>
              <a:t>Subheadline</a:t>
            </a:r>
            <a:endParaRPr lang="en-US" dirty="0"/>
          </a:p>
        </p:txBody>
      </p:sp>
      <p:sp>
        <p:nvSpPr>
          <p:cNvPr id="2" name="Titel 1">
            <a:extLst>
              <a:ext uri="{FF2B5EF4-FFF2-40B4-BE49-F238E27FC236}">
                <a16:creationId xmlns:a16="http://schemas.microsoft.com/office/drawing/2014/main" id="{64DCBCCE-C31E-4B50-8CB7-71B864389396}"/>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795669549"/>
      </p:ext>
    </p:extLst>
  </p:cSld>
  <p:clrMapOvr>
    <a:masterClrMapping/>
  </p:clrMapOvr>
  <p:extLst>
    <p:ext uri="{DCECCB84-F9BA-43D5-87BE-67443E8EF086}">
      <p15:sldGuideLst xmlns:p15="http://schemas.microsoft.com/office/powerpoint/2012/main">
        <p15:guide id="1" orient="horz" pos="2343" userDrawn="1">
          <p15:clr>
            <a:srgbClr val="FBAE40"/>
          </p15:clr>
        </p15:guide>
        <p15:guide id="2" orient="horz" pos="2478" userDrawn="1">
          <p15:clr>
            <a:srgbClr val="FBAE40"/>
          </p15:clr>
        </p15:guide>
        <p15:guide id="3" pos="3975" userDrawn="1">
          <p15:clr>
            <a:srgbClr val="FBAE40"/>
          </p15:clr>
        </p15:guide>
        <p15:guide id="4" pos="3704" userDrawn="1">
          <p15:clr>
            <a:srgbClr val="FBAE40"/>
          </p15:clr>
        </p15:guide>
        <p15:guide id="5" pos="2160" userDrawn="1">
          <p15:clr>
            <a:srgbClr val="FBAE40"/>
          </p15:clr>
        </p15:guide>
        <p15:guide id="6" pos="1890" userDrawn="1">
          <p15:clr>
            <a:srgbClr val="FBAE40"/>
          </p15:clr>
        </p15:guide>
        <p15:guide id="7" pos="5518" userDrawn="1">
          <p15:clr>
            <a:srgbClr val="FBAE40"/>
          </p15:clr>
        </p15:guide>
        <p15:guide id="8" pos="579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3" name="Inhaltsplatzhalter 2"/>
          <p:cNvSpPr>
            <a:spLocks noGrp="1"/>
          </p:cNvSpPr>
          <p:nvPr>
            <p:ph sz="quarter" idx="14" hasCustomPrompt="1"/>
          </p:nvPr>
        </p:nvSpPr>
        <p:spPr bwMode="gray">
          <a:xfrm>
            <a:off x="550666" y="1702144"/>
            <a:ext cx="1728000" cy="4248000"/>
          </a:xfrm>
        </p:spPr>
        <p:txBody>
          <a:bodyPr/>
          <a:lstStyle>
            <a:lvl1pPr>
              <a:defRPr sz="1200"/>
            </a:lvl1pPr>
            <a:lvl2pPr>
              <a:defRPr sz="1200"/>
            </a:lvl2pPr>
            <a:lvl3pPr>
              <a:defRPr sz="1200"/>
            </a:lvl3pPr>
            <a:lvl4pPr marL="360000" indent="-180000">
              <a:buFont typeface="Symbol" panose="05050102010706020507" pitchFamily="18" charset="2"/>
              <a:buChar cha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Inhaltsplatzhalter 2"/>
          <p:cNvSpPr>
            <a:spLocks noGrp="1"/>
          </p:cNvSpPr>
          <p:nvPr>
            <p:ph sz="quarter" idx="15" hasCustomPrompt="1"/>
          </p:nvPr>
        </p:nvSpPr>
        <p:spPr bwMode="gray">
          <a:xfrm>
            <a:off x="242292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1" name="Inhaltsplatzhalter 2"/>
          <p:cNvSpPr>
            <a:spLocks noGrp="1"/>
          </p:cNvSpPr>
          <p:nvPr>
            <p:ph sz="quarter" idx="16" hasCustomPrompt="1"/>
          </p:nvPr>
        </p:nvSpPr>
        <p:spPr bwMode="gray">
          <a:xfrm>
            <a:off x="429518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2" name="Inhaltsplatzhalter 2"/>
          <p:cNvSpPr>
            <a:spLocks noGrp="1"/>
          </p:cNvSpPr>
          <p:nvPr>
            <p:ph sz="quarter" idx="17" hasCustomPrompt="1"/>
          </p:nvPr>
        </p:nvSpPr>
        <p:spPr bwMode="gray">
          <a:xfrm>
            <a:off x="616744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3" name="Inhaltsplatzhalter 2"/>
          <p:cNvSpPr>
            <a:spLocks noGrp="1"/>
          </p:cNvSpPr>
          <p:nvPr>
            <p:ph sz="quarter" idx="18" hasCustomPrompt="1"/>
          </p:nvPr>
        </p:nvSpPr>
        <p:spPr bwMode="gray">
          <a:xfrm>
            <a:off x="803970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4" name="Inhaltsplatzhalter 2"/>
          <p:cNvSpPr>
            <a:spLocks noGrp="1"/>
          </p:cNvSpPr>
          <p:nvPr>
            <p:ph sz="quarter" idx="19" hasCustomPrompt="1"/>
          </p:nvPr>
        </p:nvSpPr>
        <p:spPr bwMode="gray">
          <a:xfrm>
            <a:off x="9909585" y="1702144"/>
            <a:ext cx="172801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4" name="Titel 3">
            <a:extLst>
              <a:ext uri="{FF2B5EF4-FFF2-40B4-BE49-F238E27FC236}">
                <a16:creationId xmlns:a16="http://schemas.microsoft.com/office/drawing/2014/main" id="{639BA129-5AA9-4716-9DCF-10BFE15DEA5D}"/>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971431944"/>
      </p:ext>
    </p:extLst>
  </p:cSld>
  <p:clrMapOvr>
    <a:masterClrMapping/>
  </p:clrMapOvr>
  <p:extLst>
    <p:ext uri="{DCECCB84-F9BA-43D5-87BE-67443E8EF086}">
      <p15:sldGuideLst xmlns:p15="http://schemas.microsoft.com/office/powerpoint/2012/main">
        <p15:guide id="1" pos="1526" userDrawn="1">
          <p15:clr>
            <a:srgbClr val="FBAE40"/>
          </p15:clr>
        </p15:guide>
        <p15:guide id="2" pos="1436" userDrawn="1">
          <p15:clr>
            <a:srgbClr val="FBAE40"/>
          </p15:clr>
        </p15:guide>
        <p15:guide id="3" pos="2705" userDrawn="1">
          <p15:clr>
            <a:srgbClr val="FBAE40"/>
          </p15:clr>
        </p15:guide>
        <p15:guide id="4" pos="2616" userDrawn="1">
          <p15:clr>
            <a:srgbClr val="FBAE40"/>
          </p15:clr>
        </p15:guide>
        <p15:guide id="5" pos="3795" userDrawn="1">
          <p15:clr>
            <a:srgbClr val="FBAE40"/>
          </p15:clr>
        </p15:guide>
        <p15:guide id="6" pos="3885" userDrawn="1">
          <p15:clr>
            <a:srgbClr val="FBAE40"/>
          </p15:clr>
        </p15:guide>
        <p15:guide id="7" pos="4974" userDrawn="1">
          <p15:clr>
            <a:srgbClr val="FBAE40"/>
          </p15:clr>
        </p15:guide>
        <p15:guide id="8" pos="5064" userDrawn="1">
          <p15:clr>
            <a:srgbClr val="FBAE40"/>
          </p15:clr>
        </p15:guide>
        <p15:guide id="9" pos="6153" userDrawn="1">
          <p15:clr>
            <a:srgbClr val="FBAE40"/>
          </p15:clr>
        </p15:guide>
        <p15:guide id="10" pos="624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3" name="Bildplatzhalter 2"/>
          <p:cNvSpPr>
            <a:spLocks noGrp="1"/>
          </p:cNvSpPr>
          <p:nvPr>
            <p:ph type="pic" sz="quarter" idx="13"/>
          </p:nvPr>
        </p:nvSpPr>
        <p:spPr bwMode="gray">
          <a:xfrm>
            <a:off x="550436" y="1270144"/>
            <a:ext cx="11089540" cy="4680000"/>
          </a:xfrm>
          <a:pattFill prst="ltUpDiag">
            <a:fgClr>
              <a:schemeClr val="accent1"/>
            </a:fgClr>
            <a:bgClr>
              <a:schemeClr val="bg1"/>
            </a:bgClr>
          </a:pattFill>
        </p:spPr>
        <p:txBody>
          <a:bodyPr tIns="0" bIns="648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endParaRPr lang="en-US" dirty="0"/>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981916509"/>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ve picture with Text">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84EE520C-4959-4F76-9B5A-4E8474959BE1}"/>
              </a:ext>
            </a:extLst>
          </p:cNvPr>
          <p:cNvSpPr>
            <a:spLocks noGrp="1"/>
          </p:cNvSpPr>
          <p:nvPr>
            <p:ph type="pic" sz="quarter" idx="13"/>
          </p:nvPr>
        </p:nvSpPr>
        <p:spPr bwMode="gray">
          <a:xfrm>
            <a:off x="-1" y="0"/>
            <a:ext cx="12190413" cy="6859588"/>
          </a:xfrm>
          <a:custGeom>
            <a:avLst/>
            <a:gdLst>
              <a:gd name="connsiteX0" fmla="*/ 0 w 12190413"/>
              <a:gd name="connsiteY0" fmla="*/ 0 h 6859588"/>
              <a:gd name="connsiteX1" fmla="*/ 12190413 w 12190413"/>
              <a:gd name="connsiteY1" fmla="*/ 0 h 6859588"/>
              <a:gd name="connsiteX2" fmla="*/ 12190413 w 12190413"/>
              <a:gd name="connsiteY2" fmla="*/ 6859588 h 6859588"/>
              <a:gd name="connsiteX3" fmla="*/ 12188069 w 12190413"/>
              <a:gd name="connsiteY3" fmla="*/ 6859588 h 6859588"/>
              <a:gd name="connsiteX4" fmla="*/ 12188074 w 12190413"/>
              <a:gd name="connsiteY4" fmla="*/ 6782682 h 6859588"/>
              <a:gd name="connsiteX5" fmla="*/ 12189903 w 12190413"/>
              <a:gd name="connsiteY5" fmla="*/ 4427572 h 6859588"/>
              <a:gd name="connsiteX6" fmla="*/ 12190059 w 12190413"/>
              <a:gd name="connsiteY6" fmla="*/ 4399384 h 6859588"/>
              <a:gd name="connsiteX7" fmla="*/ 11921861 w 12190413"/>
              <a:gd name="connsiteY7" fmla="*/ 4333012 h 6859588"/>
              <a:gd name="connsiteX8" fmla="*/ 11439559 w 12190413"/>
              <a:gd name="connsiteY8" fmla="*/ 4242515 h 6859588"/>
              <a:gd name="connsiteX9" fmla="*/ 11127220 w 12190413"/>
              <a:gd name="connsiteY9" fmla="*/ 4197542 h 6859588"/>
              <a:gd name="connsiteX10" fmla="*/ 11077501 w 12190413"/>
              <a:gd name="connsiteY10" fmla="*/ 4191155 h 6859588"/>
              <a:gd name="connsiteX11" fmla="*/ 10752195 w 12190413"/>
              <a:gd name="connsiteY11" fmla="*/ 4154628 h 6859588"/>
              <a:gd name="connsiteX12" fmla="*/ 6332701 w 12190413"/>
              <a:gd name="connsiteY12" fmla="*/ 4338057 h 6859588"/>
              <a:gd name="connsiteX13" fmla="*/ 6303093 w 12190413"/>
              <a:gd name="connsiteY13" fmla="*/ 4343043 h 6859588"/>
              <a:gd name="connsiteX14" fmla="*/ 6149254 w 12190413"/>
              <a:gd name="connsiteY14" fmla="*/ 4375354 h 6859588"/>
              <a:gd name="connsiteX15" fmla="*/ 5803047 w 12190413"/>
              <a:gd name="connsiteY15" fmla="*/ 4433708 h 6859588"/>
              <a:gd name="connsiteX16" fmla="*/ 5729616 w 12190413"/>
              <a:gd name="connsiteY16" fmla="*/ 4447695 h 6859588"/>
              <a:gd name="connsiteX17" fmla="*/ 5644973 w 12190413"/>
              <a:gd name="connsiteY17" fmla="*/ 4460353 h 6859588"/>
              <a:gd name="connsiteX18" fmla="*/ 5471748 w 12190413"/>
              <a:gd name="connsiteY18" fmla="*/ 4489550 h 6859588"/>
              <a:gd name="connsiteX19" fmla="*/ 5337395 w 12190413"/>
              <a:gd name="connsiteY19" fmla="*/ 4506796 h 6859588"/>
              <a:gd name="connsiteX20" fmla="*/ 5170844 w 12190413"/>
              <a:gd name="connsiteY20" fmla="*/ 4533257 h 6859588"/>
              <a:gd name="connsiteX21" fmla="*/ 4980511 w 12190413"/>
              <a:gd name="connsiteY21" fmla="*/ 4557704 h 6859588"/>
              <a:gd name="connsiteX22" fmla="*/ 4793677 w 12190413"/>
              <a:gd name="connsiteY22" fmla="*/ 4580404 h 6859588"/>
              <a:gd name="connsiteX23" fmla="*/ 4603342 w 12190413"/>
              <a:gd name="connsiteY23" fmla="*/ 4603104 h 6859588"/>
              <a:gd name="connsiteX24" fmla="*/ 4411265 w 12190413"/>
              <a:gd name="connsiteY24" fmla="*/ 4622312 h 6859588"/>
              <a:gd name="connsiteX25" fmla="*/ 4217442 w 12190413"/>
              <a:gd name="connsiteY25" fmla="*/ 4638026 h 6859588"/>
              <a:gd name="connsiteX26" fmla="*/ 4027111 w 12190413"/>
              <a:gd name="connsiteY26" fmla="*/ 4650250 h 6859588"/>
              <a:gd name="connsiteX27" fmla="*/ 3833286 w 12190413"/>
              <a:gd name="connsiteY27" fmla="*/ 4662473 h 6859588"/>
              <a:gd name="connsiteX28" fmla="*/ 3637717 w 12190413"/>
              <a:gd name="connsiteY28" fmla="*/ 4672949 h 6859588"/>
              <a:gd name="connsiteX29" fmla="*/ 3443893 w 12190413"/>
              <a:gd name="connsiteY29" fmla="*/ 4678188 h 6859588"/>
              <a:gd name="connsiteX30" fmla="*/ 3246577 w 12190413"/>
              <a:gd name="connsiteY30" fmla="*/ 4681681 h 6859588"/>
              <a:gd name="connsiteX31" fmla="*/ 3049260 w 12190413"/>
              <a:gd name="connsiteY31" fmla="*/ 4681680 h 6859588"/>
              <a:gd name="connsiteX32" fmla="*/ 2853690 w 12190413"/>
              <a:gd name="connsiteY32" fmla="*/ 4681680 h 6859588"/>
              <a:gd name="connsiteX33" fmla="*/ 2827195 w 12190413"/>
              <a:gd name="connsiteY33" fmla="*/ 4681212 h 6859588"/>
              <a:gd name="connsiteX34" fmla="*/ 2716015 w 12190413"/>
              <a:gd name="connsiteY34" fmla="*/ 4682253 h 6859588"/>
              <a:gd name="connsiteX35" fmla="*/ 337127 w 12190413"/>
              <a:gd name="connsiteY35" fmla="*/ 4449255 h 6859588"/>
              <a:gd name="connsiteX36" fmla="*/ 158024 w 12190413"/>
              <a:gd name="connsiteY36" fmla="*/ 4407527 h 6859588"/>
              <a:gd name="connsiteX37" fmla="*/ 2208 w 12190413"/>
              <a:gd name="connsiteY37" fmla="*/ 4377849 h 6859588"/>
              <a:gd name="connsiteX38" fmla="*/ 2208 w 12190413"/>
              <a:gd name="connsiteY38" fmla="*/ 4371224 h 6859588"/>
              <a:gd name="connsiteX39" fmla="*/ 2 w 12190413"/>
              <a:gd name="connsiteY39" fmla="*/ 4370710 h 6859588"/>
              <a:gd name="connsiteX40" fmla="*/ 2 w 12190413"/>
              <a:gd name="connsiteY40" fmla="*/ 4383617 h 6859588"/>
              <a:gd name="connsiteX41" fmla="*/ 2 w 12190413"/>
              <a:gd name="connsiteY41" fmla="*/ 6859588 h 6859588"/>
              <a:gd name="connsiteX42" fmla="*/ 0 w 12190413"/>
              <a:gd name="connsiteY42" fmla="*/ 6859588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0413" h="6859588">
                <a:moveTo>
                  <a:pt x="0" y="0"/>
                </a:moveTo>
                <a:lnTo>
                  <a:pt x="12190413" y="0"/>
                </a:lnTo>
                <a:lnTo>
                  <a:pt x="12190413" y="6859588"/>
                </a:lnTo>
                <a:lnTo>
                  <a:pt x="12188069" y="6859588"/>
                </a:lnTo>
                <a:lnTo>
                  <a:pt x="12188074" y="6782682"/>
                </a:lnTo>
                <a:cubicBezTo>
                  <a:pt x="12188218" y="5701674"/>
                  <a:pt x="12188865" y="4680971"/>
                  <a:pt x="12189903" y="4427572"/>
                </a:cubicBezTo>
                <a:lnTo>
                  <a:pt x="12190059" y="4399384"/>
                </a:lnTo>
                <a:lnTo>
                  <a:pt x="11921861" y="4333012"/>
                </a:lnTo>
                <a:cubicBezTo>
                  <a:pt x="11766177" y="4299331"/>
                  <a:pt x="11605264" y="4269167"/>
                  <a:pt x="11439559" y="4242515"/>
                </a:cubicBezTo>
                <a:lnTo>
                  <a:pt x="11127220" y="4197542"/>
                </a:lnTo>
                <a:lnTo>
                  <a:pt x="11077501" y="4191155"/>
                </a:lnTo>
                <a:lnTo>
                  <a:pt x="10752195" y="4154628"/>
                </a:lnTo>
                <a:cubicBezTo>
                  <a:pt x="9448916" y="4027804"/>
                  <a:pt x="7918857" y="4089534"/>
                  <a:pt x="6332701" y="4338057"/>
                </a:cubicBezTo>
                <a:lnTo>
                  <a:pt x="6303093" y="4343043"/>
                </a:lnTo>
                <a:lnTo>
                  <a:pt x="6149254" y="4375354"/>
                </a:lnTo>
                <a:lnTo>
                  <a:pt x="5803047" y="4433708"/>
                </a:lnTo>
                <a:lnTo>
                  <a:pt x="5729616" y="4447695"/>
                </a:lnTo>
                <a:lnTo>
                  <a:pt x="5644973" y="4460353"/>
                </a:lnTo>
                <a:lnTo>
                  <a:pt x="5471748" y="4489550"/>
                </a:lnTo>
                <a:lnTo>
                  <a:pt x="5337395" y="4506796"/>
                </a:lnTo>
                <a:lnTo>
                  <a:pt x="5170844" y="4533257"/>
                </a:lnTo>
                <a:lnTo>
                  <a:pt x="4980511" y="4557704"/>
                </a:lnTo>
                <a:lnTo>
                  <a:pt x="4793677" y="4580404"/>
                </a:lnTo>
                <a:lnTo>
                  <a:pt x="4603342" y="4603104"/>
                </a:lnTo>
                <a:lnTo>
                  <a:pt x="4411265" y="4622312"/>
                </a:lnTo>
                <a:lnTo>
                  <a:pt x="4217442" y="4638026"/>
                </a:lnTo>
                <a:lnTo>
                  <a:pt x="4027111" y="4650250"/>
                </a:lnTo>
                <a:lnTo>
                  <a:pt x="3833286" y="4662473"/>
                </a:lnTo>
                <a:lnTo>
                  <a:pt x="3637717" y="4672949"/>
                </a:lnTo>
                <a:lnTo>
                  <a:pt x="3443893" y="4678188"/>
                </a:lnTo>
                <a:lnTo>
                  <a:pt x="3246577" y="4681681"/>
                </a:lnTo>
                <a:lnTo>
                  <a:pt x="3049260" y="4681680"/>
                </a:lnTo>
                <a:lnTo>
                  <a:pt x="2853690" y="4681680"/>
                </a:lnTo>
                <a:lnTo>
                  <a:pt x="2827195" y="4681212"/>
                </a:lnTo>
                <a:lnTo>
                  <a:pt x="2716015" y="4682253"/>
                </a:lnTo>
                <a:cubicBezTo>
                  <a:pt x="1844659" y="4672517"/>
                  <a:pt x="1038909" y="4591451"/>
                  <a:pt x="337127" y="4449255"/>
                </a:cubicBezTo>
                <a:lnTo>
                  <a:pt x="158024" y="4407527"/>
                </a:lnTo>
                <a:lnTo>
                  <a:pt x="2208" y="4377849"/>
                </a:lnTo>
                <a:lnTo>
                  <a:pt x="2208" y="4371224"/>
                </a:lnTo>
                <a:lnTo>
                  <a:pt x="2" y="4370710"/>
                </a:lnTo>
                <a:lnTo>
                  <a:pt x="2" y="4383617"/>
                </a:lnTo>
                <a:lnTo>
                  <a:pt x="2" y="6859588"/>
                </a:lnTo>
                <a:lnTo>
                  <a:pt x="0" y="6859588"/>
                </a:lnTo>
                <a:close/>
              </a:path>
            </a:pathLst>
          </a:custGeom>
          <a:pattFill prst="ltUpDiag">
            <a:fgClr>
              <a:schemeClr val="accent1"/>
            </a:fgClr>
            <a:bgClr>
              <a:schemeClr val="bg1"/>
            </a:bgClr>
          </a:pattFill>
        </p:spPr>
        <p:txBody>
          <a:bodyPr wrap="square" tIns="0" bIns="648000" anchor="ctr" anchorCtr="1">
            <a:noAutofit/>
          </a:bodyPr>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endParaRPr lang="en-US" dirty="0"/>
          </a:p>
        </p:txBody>
      </p:sp>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17" name="Titel 1">
            <a:extLst>
              <a:ext uri="{FF2B5EF4-FFF2-40B4-BE49-F238E27FC236}">
                <a16:creationId xmlns:a16="http://schemas.microsoft.com/office/drawing/2014/main" id="{6973F3DE-1CB2-415F-BBCA-37AF345CA55D}"/>
              </a:ext>
            </a:extLst>
          </p:cNvPr>
          <p:cNvSpPr>
            <a:spLocks noGrp="1"/>
          </p:cNvSpPr>
          <p:nvPr>
            <p:ph type="title" hasCustomPrompt="1"/>
          </p:nvPr>
        </p:nvSpPr>
        <p:spPr>
          <a:xfrm>
            <a:off x="4222946" y="5014014"/>
            <a:ext cx="3600500" cy="935936"/>
          </a:xfrm>
        </p:spPr>
        <p:txBody>
          <a:bodyPr anchor="b"/>
          <a:lstStyle>
            <a:lvl1pPr>
              <a:defRPr sz="2000"/>
            </a:lvl1pPr>
          </a:lstStyle>
          <a:p>
            <a:r>
              <a:rPr lang="en-US" dirty="0"/>
              <a:t>Click to edit Master title style</a:t>
            </a:r>
          </a:p>
        </p:txBody>
      </p:sp>
    </p:spTree>
    <p:extLst>
      <p:ext uri="{BB962C8B-B14F-4D97-AF65-F5344CB8AC3E}">
        <p14:creationId xmlns:p14="http://schemas.microsoft.com/office/powerpoint/2010/main" val="2976400901"/>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ly Title with picture">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1D59C23-50AF-49C3-9DB9-0999BC6D9E9B}"/>
              </a:ext>
            </a:extLst>
          </p:cNvPr>
          <p:cNvGraphicFramePr>
            <a:graphicFrameLocks noChangeAspect="1"/>
          </p:cNvGraphicFramePr>
          <p:nvPr userDrawn="1">
            <p:custDataLst>
              <p:tags r:id="rId2"/>
            </p:custDataLst>
            <p:extLst>
              <p:ext uri="{D42A27DB-BD31-4B8C-83A1-F6EECF244321}">
                <p14:modId xmlns:p14="http://schemas.microsoft.com/office/powerpoint/2010/main" val="789674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306" imgH="306" progId="TCLayout.ActiveDocument.1">
                  <p:embed/>
                </p:oleObj>
              </mc:Choice>
              <mc:Fallback>
                <p:oleObj name="think-cell Folie" r:id="rId5" imgW="306" imgH="306" progId="TCLayout.ActiveDocument.1">
                  <p:embed/>
                  <p:pic>
                    <p:nvPicPr>
                      <p:cNvPr id="3" name="Objekt 2" hidden="1">
                        <a:extLst>
                          <a:ext uri="{FF2B5EF4-FFF2-40B4-BE49-F238E27FC236}">
                            <a16:creationId xmlns:a16="http://schemas.microsoft.com/office/drawing/2014/main" id="{41D59C23-50AF-49C3-9DB9-0999BC6D9E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A1EE99A-BA50-47BE-AB28-08C71B1B37C4}"/>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la-Latn" sz="2800" b="0" i="0" u="none"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accent2"/>
          </a:solidFill>
        </p:spPr>
        <p:txBody>
          <a:bodyPr wrap="square" lIns="0" tIns="0" bIns="648000" anchor="ctr">
            <a:noAutofit/>
          </a:bodyPr>
          <a:lstStyle>
            <a:lvl1pPr marL="0" indent="0" algn="ctr">
              <a:buNone/>
              <a:defRPr sz="1200" cap="none" baseline="0">
                <a:solidFill>
                  <a:schemeClr val="tx1"/>
                </a:solidFill>
              </a:defRPr>
            </a:lvl1pPr>
          </a:lstStyle>
          <a:p>
            <a:endParaRPr lang="de-DE" dirty="0"/>
          </a:p>
        </p:txBody>
      </p:sp>
      <p:sp>
        <p:nvSpPr>
          <p:cNvPr id="10" name="Titel 6">
            <a:extLst>
              <a:ext uri="{FF2B5EF4-FFF2-40B4-BE49-F238E27FC236}">
                <a16:creationId xmlns:a16="http://schemas.microsoft.com/office/drawing/2014/main" id="{AD391C56-CDFE-49E0-A9AF-8AD711A56F3F}"/>
              </a:ext>
            </a:extLst>
          </p:cNvPr>
          <p:cNvSpPr>
            <a:spLocks noGrp="1"/>
          </p:cNvSpPr>
          <p:nvPr>
            <p:ph type="ctrTitle" hasCustomPrompt="1"/>
          </p:nvPr>
        </p:nvSpPr>
        <p:spPr bwMode="gray">
          <a:xfrm>
            <a:off x="1279" y="0"/>
            <a:ext cx="6092825" cy="1872260"/>
          </a:xfrm>
          <a:custGeom>
            <a:avLst/>
            <a:gdLst>
              <a:gd name="connsiteX0" fmla="*/ 847 w 6092825"/>
              <a:gd name="connsiteY0" fmla="*/ 0 h 1872260"/>
              <a:gd name="connsiteX1" fmla="*/ 6092825 w 6092825"/>
              <a:gd name="connsiteY1" fmla="*/ 0 h 1872260"/>
              <a:gd name="connsiteX2" fmla="*/ 6092825 w 6092825"/>
              <a:gd name="connsiteY2" fmla="*/ 1578566 h 1872260"/>
              <a:gd name="connsiteX3" fmla="*/ 6039882 w 6092825"/>
              <a:gd name="connsiteY3" fmla="*/ 1587490 h 1872260"/>
              <a:gd name="connsiteX4" fmla="*/ 5886043 w 6092825"/>
              <a:gd name="connsiteY4" fmla="*/ 1619801 h 1872260"/>
              <a:gd name="connsiteX5" fmla="*/ 5856435 w 6092825"/>
              <a:gd name="connsiteY5" fmla="*/ 1624787 h 1872260"/>
              <a:gd name="connsiteX6" fmla="*/ 1436941 w 6092825"/>
              <a:gd name="connsiteY6" fmla="*/ 1808216 h 1872260"/>
              <a:gd name="connsiteX7" fmla="*/ 1111635 w 6092825"/>
              <a:gd name="connsiteY7" fmla="*/ 1771689 h 1872260"/>
              <a:gd name="connsiteX8" fmla="*/ 1061916 w 6092825"/>
              <a:gd name="connsiteY8" fmla="*/ 1765302 h 1872260"/>
              <a:gd name="connsiteX9" fmla="*/ 749577 w 6092825"/>
              <a:gd name="connsiteY9" fmla="*/ 1720329 h 1872260"/>
              <a:gd name="connsiteX10" fmla="*/ 267275 w 6092825"/>
              <a:gd name="connsiteY10" fmla="*/ 1629832 h 1872260"/>
              <a:gd name="connsiteX11" fmla="*/ 0 w 6092825"/>
              <a:gd name="connsiteY11" fmla="*/ 1563688 h 1872260"/>
              <a:gd name="connsiteX12" fmla="*/ 0 w 6092825"/>
              <a:gd name="connsiteY12" fmla="*/ 1163908 h 1872260"/>
              <a:gd name="connsiteX13" fmla="*/ 24 w 6092825"/>
              <a:gd name="connsiteY13" fmla="*/ 1146652 h 1872260"/>
              <a:gd name="connsiteX14" fmla="*/ 818 w 6092825"/>
              <a:gd name="connsiteY14" fmla="*/ 75482 h 187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2825" h="1872260">
                <a:moveTo>
                  <a:pt x="847" y="0"/>
                </a:moveTo>
                <a:lnTo>
                  <a:pt x="6092825" y="0"/>
                </a:lnTo>
                <a:lnTo>
                  <a:pt x="6092825" y="1578566"/>
                </a:lnTo>
                <a:lnTo>
                  <a:pt x="6039882" y="1587490"/>
                </a:lnTo>
                <a:lnTo>
                  <a:pt x="5886043" y="1619801"/>
                </a:lnTo>
                <a:lnTo>
                  <a:pt x="5856435" y="1624787"/>
                </a:lnTo>
                <a:cubicBezTo>
                  <a:pt x="4270279" y="1873310"/>
                  <a:pt x="2740220" y="1935040"/>
                  <a:pt x="1436941" y="1808216"/>
                </a:cubicBezTo>
                <a:lnTo>
                  <a:pt x="1111635" y="1771689"/>
                </a:lnTo>
                <a:lnTo>
                  <a:pt x="1061916" y="1765302"/>
                </a:lnTo>
                <a:lnTo>
                  <a:pt x="749577" y="1720329"/>
                </a:lnTo>
                <a:cubicBezTo>
                  <a:pt x="583872" y="1693677"/>
                  <a:pt x="422959" y="1663513"/>
                  <a:pt x="267275" y="1629832"/>
                </a:cubicBezTo>
                <a:lnTo>
                  <a:pt x="0" y="1563688"/>
                </a:lnTo>
                <a:lnTo>
                  <a:pt x="0" y="1163908"/>
                </a:lnTo>
                <a:lnTo>
                  <a:pt x="24" y="1146652"/>
                </a:lnTo>
                <a:cubicBezTo>
                  <a:pt x="370" y="874876"/>
                  <a:pt x="637" y="499268"/>
                  <a:pt x="818" y="75482"/>
                </a:cubicBezTo>
                <a:close/>
              </a:path>
            </a:pathLst>
          </a:custGeom>
          <a:solidFill>
            <a:schemeClr val="accent1">
              <a:alpha val="90000"/>
            </a:schemeClr>
          </a:solidFill>
        </p:spPr>
        <p:txBody>
          <a:bodyPr wrap="square" lIns="547200" tIns="478800" rIns="468000">
            <a:noAutofit/>
          </a:bodyPr>
          <a:lstStyle>
            <a:lvl1pPr>
              <a:defRPr sz="3200" baseline="0">
                <a:solidFill>
                  <a:schemeClr val="bg1"/>
                </a:solidFill>
              </a:defRPr>
            </a:lvl1pPr>
          </a:lstStyle>
          <a:p>
            <a:r>
              <a:rPr lang="en-US" dirty="0"/>
              <a:t>Here is a long</a:t>
            </a:r>
            <a:br>
              <a:rPr lang="en-US" dirty="0"/>
            </a:br>
            <a:r>
              <a:rPr lang="en-US" dirty="0"/>
              <a:t>Headline </a:t>
            </a:r>
            <a:r>
              <a:rPr lang="en-US" dirty="0" err="1"/>
              <a:t>32pt</a:t>
            </a:r>
            <a:endParaRPr lang="de-DE" dirty="0"/>
          </a:p>
        </p:txBody>
      </p:sp>
    </p:spTree>
    <p:extLst>
      <p:ext uri="{BB962C8B-B14F-4D97-AF65-F5344CB8AC3E}">
        <p14:creationId xmlns:p14="http://schemas.microsoft.com/office/powerpoint/2010/main" val="1383661365"/>
      </p:ext>
    </p:extLst>
  </p:cSld>
  <p:clrMapOvr>
    <a:masterClrMapping/>
  </p:clrMapOvr>
  <p:extLst>
    <p:ext uri="{DCECCB84-F9BA-43D5-87BE-67443E8EF086}">
      <p15:sldGuideLst xmlns:p15="http://schemas.microsoft.com/office/powerpoint/2012/main">
        <p15:guide id="1" orient="horz" pos="34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picture (dark)">
    <p:spTree>
      <p:nvGrpSpPr>
        <p:cNvPr id="1" name=""/>
        <p:cNvGrpSpPr/>
        <p:nvPr/>
      </p:nvGrpSpPr>
      <p:grpSpPr>
        <a:xfrm>
          <a:off x="0" y="0"/>
          <a:ext cx="0" cy="0"/>
          <a:chOff x="0" y="0"/>
          <a:chExt cx="0" cy="0"/>
        </a:xfrm>
      </p:grpSpPr>
      <p:sp>
        <p:nvSpPr>
          <p:cNvPr id="3" name="Bildplatzhalter 2"/>
          <p:cNvSpPr>
            <a:spLocks noGrp="1"/>
          </p:cNvSpPr>
          <p:nvPr>
            <p:ph type="pic" sz="quarter" idx="13"/>
          </p:nvPr>
        </p:nvSpPr>
        <p:spPr bwMode="gray">
          <a:xfrm>
            <a:off x="-1" y="0"/>
            <a:ext cx="12190413" cy="6859588"/>
          </a:xfrm>
          <a:pattFill prst="ltUpDiag">
            <a:fgClr>
              <a:schemeClr val="accent1"/>
            </a:fgClr>
            <a:bgClr>
              <a:schemeClr val="accent3"/>
            </a:bgClr>
          </a:pattFill>
        </p:spPr>
        <p:txBody>
          <a:bodyPr tIns="0" bIns="648000" anchor="ctr" anchorCtr="1"/>
          <a:lstStyle>
            <a:lvl1pPr marL="0" indent="0" algn="ctr">
              <a:buNone/>
              <a:defRPr sz="1200" cap="none" baseline="0">
                <a:solidFill>
                  <a:schemeClr val="bg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endParaRPr lang="en-US" dirty="0"/>
          </a:p>
        </p:txBody>
      </p:sp>
      <p:sp>
        <p:nvSpPr>
          <p:cNvPr id="7" name="Datumsplatzhalter 6"/>
          <p:cNvSpPr>
            <a:spLocks noGrp="1"/>
          </p:cNvSpPr>
          <p:nvPr>
            <p:ph type="dt" sz="half" idx="10"/>
          </p:nvPr>
        </p:nvSpPr>
        <p:spPr bwMode="gray"/>
        <p:txBody>
          <a:bodyPr/>
          <a:lstStyle>
            <a:lvl1pPr>
              <a:defRPr>
                <a:solidFill>
                  <a:schemeClr val="bg1"/>
                </a:solidFill>
              </a:defRPr>
            </a:lvl1pPr>
          </a:lstStyle>
          <a:p>
            <a:r>
              <a:rPr lang="en-US"/>
              <a:t>01/10/2019</a:t>
            </a:r>
            <a:endParaRPr lang="en-US" dirty="0"/>
          </a:p>
        </p:txBody>
      </p:sp>
      <p:sp>
        <p:nvSpPr>
          <p:cNvPr id="8" name="Fußzeilenplatzhalter 7"/>
          <p:cNvSpPr>
            <a:spLocks noGrp="1"/>
          </p:cNvSpPr>
          <p:nvPr>
            <p:ph type="ftr" sz="quarter" idx="11"/>
          </p:nvPr>
        </p:nvSpPr>
        <p:spPr bwMode="gray"/>
        <p:txBody>
          <a:bodyPr/>
          <a:lstStyle>
            <a:lvl1pPr>
              <a:defRPr>
                <a:solidFill>
                  <a:schemeClr val="bg1"/>
                </a:solidFill>
              </a:defRPr>
            </a:lvl1p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lvl1pPr>
              <a:defRPr>
                <a:solidFill>
                  <a:schemeClr val="bg1"/>
                </a:solidFill>
              </a:defRPr>
            </a:lvl1pPr>
          </a:lstStyle>
          <a:p>
            <a:fld id="{4915BD61-E5D5-4E4F-ADA0-6F3448AB9FA6}" type="slidenum">
              <a:rPr lang="en-US" smtClean="0"/>
              <a:pPr/>
              <a:t>‹Nr.›</a:t>
            </a:fld>
            <a:endParaRPr lang="en-US" dirty="0"/>
          </a:p>
        </p:txBody>
      </p:sp>
      <p:sp>
        <p:nvSpPr>
          <p:cNvPr id="2" name="Titel 1">
            <a:extLst>
              <a:ext uri="{FF2B5EF4-FFF2-40B4-BE49-F238E27FC236}">
                <a16:creationId xmlns:a16="http://schemas.microsoft.com/office/drawing/2014/main" id="{9190DF61-2AD4-4C39-B6F2-27FED0287E28}"/>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5" name="Textplatzhalter 4"/>
          <p:cNvSpPr>
            <a:spLocks noGrp="1"/>
          </p:cNvSpPr>
          <p:nvPr>
            <p:ph type="body" sz="quarter" idx="14" hasCustomPrompt="1"/>
          </p:nvPr>
        </p:nvSpPr>
        <p:spPr>
          <a:xfrm>
            <a:off x="9839137" y="6179802"/>
            <a:ext cx="1800000" cy="4500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2602769024"/>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15" name="Bildplatzhalter 14">
            <a:extLst>
              <a:ext uri="{FF2B5EF4-FFF2-40B4-BE49-F238E27FC236}">
                <a16:creationId xmlns:a16="http://schemas.microsoft.com/office/drawing/2014/main" id="{4E5E18E7-2D80-40AE-96A2-6C9FA24FDE1B}"/>
              </a:ext>
            </a:extLst>
          </p:cNvPr>
          <p:cNvSpPr>
            <a:spLocks noGrp="1"/>
          </p:cNvSpPr>
          <p:nvPr>
            <p:ph type="pic" sz="quarter" idx="15"/>
          </p:nvPr>
        </p:nvSpPr>
        <p:spPr bwMode="gray">
          <a:xfrm>
            <a:off x="550436" y="1702145"/>
            <a:ext cx="5400751" cy="4191579"/>
          </a:xfrm>
          <a:custGeom>
            <a:avLst/>
            <a:gdLst>
              <a:gd name="connsiteX0" fmla="*/ 0 w 5400751"/>
              <a:gd name="connsiteY0" fmla="*/ 0 h 4191579"/>
              <a:gd name="connsiteX1" fmla="*/ 5400751 w 5400751"/>
              <a:gd name="connsiteY1" fmla="*/ 0 h 4191579"/>
              <a:gd name="connsiteX2" fmla="*/ 5400751 w 5400751"/>
              <a:gd name="connsiteY2" fmla="*/ 3918065 h 4191579"/>
              <a:gd name="connsiteX3" fmla="*/ 5252610 w 5400751"/>
              <a:gd name="connsiteY3" fmla="*/ 3943034 h 4191579"/>
              <a:gd name="connsiteX4" fmla="*/ 5179180 w 5400751"/>
              <a:gd name="connsiteY4" fmla="*/ 3957021 h 4191579"/>
              <a:gd name="connsiteX5" fmla="*/ 5094536 w 5400751"/>
              <a:gd name="connsiteY5" fmla="*/ 3969679 h 4191579"/>
              <a:gd name="connsiteX6" fmla="*/ 4921311 w 5400751"/>
              <a:gd name="connsiteY6" fmla="*/ 3998876 h 4191579"/>
              <a:gd name="connsiteX7" fmla="*/ 4786958 w 5400751"/>
              <a:gd name="connsiteY7" fmla="*/ 4016122 h 4191579"/>
              <a:gd name="connsiteX8" fmla="*/ 4620406 w 5400751"/>
              <a:gd name="connsiteY8" fmla="*/ 4042583 h 4191579"/>
              <a:gd name="connsiteX9" fmla="*/ 4430074 w 5400751"/>
              <a:gd name="connsiteY9" fmla="*/ 4067030 h 4191579"/>
              <a:gd name="connsiteX10" fmla="*/ 4243239 w 5400751"/>
              <a:gd name="connsiteY10" fmla="*/ 4089730 h 4191579"/>
              <a:gd name="connsiteX11" fmla="*/ 4052905 w 5400751"/>
              <a:gd name="connsiteY11" fmla="*/ 4112430 h 4191579"/>
              <a:gd name="connsiteX12" fmla="*/ 3860828 w 5400751"/>
              <a:gd name="connsiteY12" fmla="*/ 4131638 h 4191579"/>
              <a:gd name="connsiteX13" fmla="*/ 3667005 w 5400751"/>
              <a:gd name="connsiteY13" fmla="*/ 4147352 h 4191579"/>
              <a:gd name="connsiteX14" fmla="*/ 3476674 w 5400751"/>
              <a:gd name="connsiteY14" fmla="*/ 4159576 h 4191579"/>
              <a:gd name="connsiteX15" fmla="*/ 3282849 w 5400751"/>
              <a:gd name="connsiteY15" fmla="*/ 4171799 h 4191579"/>
              <a:gd name="connsiteX16" fmla="*/ 3087280 w 5400751"/>
              <a:gd name="connsiteY16" fmla="*/ 4182275 h 4191579"/>
              <a:gd name="connsiteX17" fmla="*/ 2893456 w 5400751"/>
              <a:gd name="connsiteY17" fmla="*/ 4187514 h 4191579"/>
              <a:gd name="connsiteX18" fmla="*/ 2696140 w 5400751"/>
              <a:gd name="connsiteY18" fmla="*/ 4191007 h 4191579"/>
              <a:gd name="connsiteX19" fmla="*/ 2498823 w 5400751"/>
              <a:gd name="connsiteY19" fmla="*/ 4191006 h 4191579"/>
              <a:gd name="connsiteX20" fmla="*/ 2303253 w 5400751"/>
              <a:gd name="connsiteY20" fmla="*/ 4191006 h 4191579"/>
              <a:gd name="connsiteX21" fmla="*/ 2276758 w 5400751"/>
              <a:gd name="connsiteY21" fmla="*/ 4190538 h 4191579"/>
              <a:gd name="connsiteX22" fmla="*/ 2165578 w 5400751"/>
              <a:gd name="connsiteY22" fmla="*/ 4191579 h 4191579"/>
              <a:gd name="connsiteX23" fmla="*/ 331921 w 5400751"/>
              <a:gd name="connsiteY23" fmla="*/ 4053607 h 4191579"/>
              <a:gd name="connsiteX24" fmla="*/ 0 w 5400751"/>
              <a:gd name="connsiteY24" fmla="*/ 3995758 h 4191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400751" h="4191579">
                <a:moveTo>
                  <a:pt x="0" y="0"/>
                </a:moveTo>
                <a:lnTo>
                  <a:pt x="5400751" y="0"/>
                </a:lnTo>
                <a:lnTo>
                  <a:pt x="5400751" y="3918065"/>
                </a:lnTo>
                <a:lnTo>
                  <a:pt x="5252610" y="3943034"/>
                </a:lnTo>
                <a:lnTo>
                  <a:pt x="5179180" y="3957021"/>
                </a:lnTo>
                <a:lnTo>
                  <a:pt x="5094536" y="3969679"/>
                </a:lnTo>
                <a:lnTo>
                  <a:pt x="4921311" y="3998876"/>
                </a:lnTo>
                <a:lnTo>
                  <a:pt x="4786958" y="4016122"/>
                </a:lnTo>
                <a:lnTo>
                  <a:pt x="4620406" y="4042583"/>
                </a:lnTo>
                <a:lnTo>
                  <a:pt x="4430074" y="4067030"/>
                </a:lnTo>
                <a:lnTo>
                  <a:pt x="4243239" y="4089730"/>
                </a:lnTo>
                <a:lnTo>
                  <a:pt x="4052905" y="4112430"/>
                </a:lnTo>
                <a:lnTo>
                  <a:pt x="3860828" y="4131638"/>
                </a:lnTo>
                <a:lnTo>
                  <a:pt x="3667005" y="4147352"/>
                </a:lnTo>
                <a:lnTo>
                  <a:pt x="3476674" y="4159576"/>
                </a:lnTo>
                <a:lnTo>
                  <a:pt x="3282849" y="4171799"/>
                </a:lnTo>
                <a:lnTo>
                  <a:pt x="3087280" y="4182275"/>
                </a:lnTo>
                <a:lnTo>
                  <a:pt x="2893456" y="4187514"/>
                </a:lnTo>
                <a:lnTo>
                  <a:pt x="2696140" y="4191007"/>
                </a:lnTo>
                <a:lnTo>
                  <a:pt x="2498823" y="4191006"/>
                </a:lnTo>
                <a:lnTo>
                  <a:pt x="2303253" y="4191006"/>
                </a:lnTo>
                <a:lnTo>
                  <a:pt x="2276758" y="4190538"/>
                </a:lnTo>
                <a:lnTo>
                  <a:pt x="2165578" y="4191579"/>
                </a:lnTo>
                <a:cubicBezTo>
                  <a:pt x="1512061" y="4184277"/>
                  <a:pt x="895448" y="4136852"/>
                  <a:pt x="331921" y="4053607"/>
                </a:cubicBezTo>
                <a:lnTo>
                  <a:pt x="0" y="3995758"/>
                </a:lnTo>
                <a:close/>
              </a:path>
            </a:pathLst>
          </a:custGeom>
          <a:pattFill prst="ltUpDiag">
            <a:fgClr>
              <a:schemeClr val="accent1"/>
            </a:fgClr>
            <a:bgClr>
              <a:schemeClr val="bg1"/>
            </a:bgClr>
          </a:pattFill>
        </p:spPr>
        <p:txBody>
          <a:bodyPr wrap="square" tIns="0" bIns="720000" anchor="ctr" anchorCtr="1">
            <a:noAutofit/>
          </a:bodyPr>
          <a:lstStyle>
            <a:lvl1pPr marL="0" marR="0" indent="0" algn="ctr" defTabSz="1219170" rtl="0" eaLnBrk="1" fontAlgn="auto" latinLnBrk="0" hangingPunct="1">
              <a:lnSpc>
                <a:spcPts val="2200"/>
              </a:lnSpc>
              <a:spcBef>
                <a:spcPct val="20000"/>
              </a:spcBef>
              <a:spcAft>
                <a:spcPts val="0"/>
              </a:spcAft>
              <a:buClr>
                <a:schemeClr val="tx2"/>
              </a:buClr>
              <a:buSzTx/>
              <a:buFont typeface="Arial" panose="020B0604020202020204" pitchFamily="34" charset="0"/>
              <a:buNone/>
              <a:tabLst/>
              <a:defRPr sz="1200" cap="none" baseline="0">
                <a:solidFill>
                  <a:schemeClr val="tx1"/>
                </a:solidFill>
              </a:defRPr>
            </a:lvl1pPr>
            <a:lvl2pPr marL="0" indent="0" algn="ctr">
              <a:buNone/>
              <a:defRPr sz="1200"/>
            </a:lvl2pPr>
          </a:lstStyle>
          <a:p>
            <a:pPr lvl="0"/>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5" name="Titel 4">
            <a:extLst>
              <a:ext uri="{FF2B5EF4-FFF2-40B4-BE49-F238E27FC236}">
                <a16:creationId xmlns:a16="http://schemas.microsoft.com/office/drawing/2014/main" id="{A80BC08A-D2A2-4C26-8F16-6665CF8583D8}"/>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4032127275"/>
      </p:ext>
    </p:extLst>
  </p:cSld>
  <p:clrMapOvr>
    <a:masterClrMapping/>
  </p:clrMapOvr>
  <p:extLst>
    <p:ext uri="{DCECCB84-F9BA-43D5-87BE-67443E8EF086}">
      <p15:sldGuideLst xmlns:p15="http://schemas.microsoft.com/office/powerpoint/2012/main">
        <p15:guide id="1" pos="3929" userDrawn="1">
          <p15:clr>
            <a:srgbClr val="FBAE40"/>
          </p15:clr>
        </p15:guide>
        <p15:guide id="2" pos="375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3 picture, 1/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14" name="Bildplatzhalter 13">
            <a:extLst>
              <a:ext uri="{FF2B5EF4-FFF2-40B4-BE49-F238E27FC236}">
                <a16:creationId xmlns:a16="http://schemas.microsoft.com/office/drawing/2014/main" id="{CEB0DB9E-17E3-4BBF-8A5C-7CA3130B9382}"/>
              </a:ext>
            </a:extLst>
          </p:cNvPr>
          <p:cNvSpPr>
            <a:spLocks noGrp="1"/>
          </p:cNvSpPr>
          <p:nvPr>
            <p:ph type="pic" sz="quarter" idx="19"/>
          </p:nvPr>
        </p:nvSpPr>
        <p:spPr bwMode="gray">
          <a:xfrm>
            <a:off x="550863" y="1701801"/>
            <a:ext cx="7343433" cy="4191922"/>
          </a:xfrm>
          <a:custGeom>
            <a:avLst/>
            <a:gdLst>
              <a:gd name="connsiteX0" fmla="*/ 0 w 7343433"/>
              <a:gd name="connsiteY0" fmla="*/ 0 h 4191922"/>
              <a:gd name="connsiteX1" fmla="*/ 7343433 w 7343433"/>
              <a:gd name="connsiteY1" fmla="*/ 0 h 4191922"/>
              <a:gd name="connsiteX2" fmla="*/ 7343433 w 7343433"/>
              <a:gd name="connsiteY2" fmla="*/ 3663346 h 4191922"/>
              <a:gd name="connsiteX3" fmla="*/ 6958269 w 7343433"/>
              <a:gd name="connsiteY3" fmla="*/ 3696385 h 4191922"/>
              <a:gd name="connsiteX4" fmla="*/ 5781837 w 7343433"/>
              <a:gd name="connsiteY4" fmla="*/ 3847726 h 4191922"/>
              <a:gd name="connsiteX5" fmla="*/ 5752229 w 7343433"/>
              <a:gd name="connsiteY5" fmla="*/ 3852712 h 4191922"/>
              <a:gd name="connsiteX6" fmla="*/ 5598390 w 7343433"/>
              <a:gd name="connsiteY6" fmla="*/ 3885023 h 4191922"/>
              <a:gd name="connsiteX7" fmla="*/ 5252183 w 7343433"/>
              <a:gd name="connsiteY7" fmla="*/ 3943377 h 4191922"/>
              <a:gd name="connsiteX8" fmla="*/ 5178753 w 7343433"/>
              <a:gd name="connsiteY8" fmla="*/ 3957364 h 4191922"/>
              <a:gd name="connsiteX9" fmla="*/ 5094109 w 7343433"/>
              <a:gd name="connsiteY9" fmla="*/ 3970022 h 4191922"/>
              <a:gd name="connsiteX10" fmla="*/ 4920884 w 7343433"/>
              <a:gd name="connsiteY10" fmla="*/ 3999219 h 4191922"/>
              <a:gd name="connsiteX11" fmla="*/ 4786531 w 7343433"/>
              <a:gd name="connsiteY11" fmla="*/ 4016465 h 4191922"/>
              <a:gd name="connsiteX12" fmla="*/ 4619979 w 7343433"/>
              <a:gd name="connsiteY12" fmla="*/ 4042926 h 4191922"/>
              <a:gd name="connsiteX13" fmla="*/ 4429647 w 7343433"/>
              <a:gd name="connsiteY13" fmla="*/ 4067373 h 4191922"/>
              <a:gd name="connsiteX14" fmla="*/ 4242812 w 7343433"/>
              <a:gd name="connsiteY14" fmla="*/ 4090073 h 4191922"/>
              <a:gd name="connsiteX15" fmla="*/ 4052478 w 7343433"/>
              <a:gd name="connsiteY15" fmla="*/ 4112773 h 4191922"/>
              <a:gd name="connsiteX16" fmla="*/ 3860401 w 7343433"/>
              <a:gd name="connsiteY16" fmla="*/ 4131981 h 4191922"/>
              <a:gd name="connsiteX17" fmla="*/ 3666578 w 7343433"/>
              <a:gd name="connsiteY17" fmla="*/ 4147695 h 4191922"/>
              <a:gd name="connsiteX18" fmla="*/ 3476247 w 7343433"/>
              <a:gd name="connsiteY18" fmla="*/ 4159919 h 4191922"/>
              <a:gd name="connsiteX19" fmla="*/ 3282422 w 7343433"/>
              <a:gd name="connsiteY19" fmla="*/ 4172142 h 4191922"/>
              <a:gd name="connsiteX20" fmla="*/ 3086853 w 7343433"/>
              <a:gd name="connsiteY20" fmla="*/ 4182618 h 4191922"/>
              <a:gd name="connsiteX21" fmla="*/ 2893029 w 7343433"/>
              <a:gd name="connsiteY21" fmla="*/ 4187857 h 4191922"/>
              <a:gd name="connsiteX22" fmla="*/ 2695713 w 7343433"/>
              <a:gd name="connsiteY22" fmla="*/ 4191350 h 4191922"/>
              <a:gd name="connsiteX23" fmla="*/ 2498396 w 7343433"/>
              <a:gd name="connsiteY23" fmla="*/ 4191349 h 4191922"/>
              <a:gd name="connsiteX24" fmla="*/ 2302826 w 7343433"/>
              <a:gd name="connsiteY24" fmla="*/ 4191349 h 4191922"/>
              <a:gd name="connsiteX25" fmla="*/ 2276331 w 7343433"/>
              <a:gd name="connsiteY25" fmla="*/ 4190881 h 4191922"/>
              <a:gd name="connsiteX26" fmla="*/ 2165151 w 7343433"/>
              <a:gd name="connsiteY26" fmla="*/ 4191922 h 4191922"/>
              <a:gd name="connsiteX27" fmla="*/ 331494 w 7343433"/>
              <a:gd name="connsiteY27" fmla="*/ 4053950 h 4191922"/>
              <a:gd name="connsiteX28" fmla="*/ 0 w 7343433"/>
              <a:gd name="connsiteY28" fmla="*/ 3996176 h 4191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43433" h="4191922">
                <a:moveTo>
                  <a:pt x="0" y="0"/>
                </a:moveTo>
                <a:lnTo>
                  <a:pt x="7343433" y="0"/>
                </a:lnTo>
                <a:lnTo>
                  <a:pt x="7343433" y="3663346"/>
                </a:lnTo>
                <a:lnTo>
                  <a:pt x="6958269" y="3696385"/>
                </a:lnTo>
                <a:cubicBezTo>
                  <a:pt x="6571409" y="3735139"/>
                  <a:pt x="6178376" y="3785596"/>
                  <a:pt x="5781837" y="3847726"/>
                </a:cubicBezTo>
                <a:lnTo>
                  <a:pt x="5752229" y="3852712"/>
                </a:lnTo>
                <a:lnTo>
                  <a:pt x="5598390" y="3885023"/>
                </a:lnTo>
                <a:lnTo>
                  <a:pt x="5252183" y="3943377"/>
                </a:lnTo>
                <a:lnTo>
                  <a:pt x="5178753" y="3957364"/>
                </a:lnTo>
                <a:lnTo>
                  <a:pt x="5094109" y="3970022"/>
                </a:lnTo>
                <a:lnTo>
                  <a:pt x="4920884" y="3999219"/>
                </a:lnTo>
                <a:lnTo>
                  <a:pt x="4786531" y="4016465"/>
                </a:lnTo>
                <a:lnTo>
                  <a:pt x="4619979" y="4042926"/>
                </a:lnTo>
                <a:lnTo>
                  <a:pt x="4429647" y="4067373"/>
                </a:lnTo>
                <a:lnTo>
                  <a:pt x="4242812" y="4090073"/>
                </a:lnTo>
                <a:lnTo>
                  <a:pt x="4052478" y="4112773"/>
                </a:lnTo>
                <a:lnTo>
                  <a:pt x="3860401" y="4131981"/>
                </a:lnTo>
                <a:lnTo>
                  <a:pt x="3666578" y="4147695"/>
                </a:lnTo>
                <a:lnTo>
                  <a:pt x="3476247" y="4159919"/>
                </a:lnTo>
                <a:lnTo>
                  <a:pt x="3282422" y="4172142"/>
                </a:lnTo>
                <a:lnTo>
                  <a:pt x="3086853" y="4182618"/>
                </a:lnTo>
                <a:lnTo>
                  <a:pt x="2893029" y="4187857"/>
                </a:lnTo>
                <a:lnTo>
                  <a:pt x="2695713" y="4191350"/>
                </a:lnTo>
                <a:lnTo>
                  <a:pt x="2498396" y="4191349"/>
                </a:lnTo>
                <a:lnTo>
                  <a:pt x="2302826" y="4191349"/>
                </a:lnTo>
                <a:lnTo>
                  <a:pt x="2276331" y="4190881"/>
                </a:lnTo>
                <a:lnTo>
                  <a:pt x="2165151" y="4191922"/>
                </a:lnTo>
                <a:cubicBezTo>
                  <a:pt x="1511634" y="4184620"/>
                  <a:pt x="895021" y="4137195"/>
                  <a:pt x="331494" y="4053950"/>
                </a:cubicBezTo>
                <a:lnTo>
                  <a:pt x="0" y="3996176"/>
                </a:lnTo>
                <a:close/>
              </a:path>
            </a:pathLst>
          </a:custGeom>
          <a:pattFill prst="ltUpDiag">
            <a:fgClr>
              <a:schemeClr val="accent1"/>
            </a:fgClr>
            <a:bgClr>
              <a:schemeClr val="bg1"/>
            </a:bgClr>
          </a:pattFill>
        </p:spPr>
        <p:txBody>
          <a:bodyPr wrap="square" tIns="0" bIns="720000" anchor="ctr" anchorCtr="1">
            <a:noAutofit/>
          </a:bodyP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cap="none" baseline="0">
                <a:solidFill>
                  <a:schemeClr val="tx1"/>
                </a:solidFill>
              </a:defRPr>
            </a:lvl1pPr>
          </a:lstStyle>
          <a:p>
            <a:pPr lvl="0"/>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
        <p:nvSpPr>
          <p:cNvPr id="2" name="Titel 1">
            <a:extLst>
              <a:ext uri="{FF2B5EF4-FFF2-40B4-BE49-F238E27FC236}">
                <a16:creationId xmlns:a16="http://schemas.microsoft.com/office/drawing/2014/main" id="{3F63D73D-9FE6-45F7-87FA-57267F6CC490}"/>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835787570"/>
      </p:ext>
    </p:extLst>
  </p:cSld>
  <p:clrMapOvr>
    <a:masterClrMapping/>
  </p:clrMapOvr>
  <p:extLst>
    <p:ext uri="{DCECCB84-F9BA-43D5-87BE-67443E8EF086}">
      <p15:sldGuideLst xmlns:p15="http://schemas.microsoft.com/office/powerpoint/2012/main">
        <p15:guide id="1" pos="5109" userDrawn="1">
          <p15:clr>
            <a:srgbClr val="FBAE40"/>
          </p15:clr>
        </p15:guide>
        <p15:guide id="2" pos="497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3 picture, 2/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17" name="Bildplatzhalter 16">
            <a:extLst>
              <a:ext uri="{FF2B5EF4-FFF2-40B4-BE49-F238E27FC236}">
                <a16:creationId xmlns:a16="http://schemas.microsoft.com/office/drawing/2014/main" id="{C82AC9B9-5EED-4C28-8C0A-68CA4B3CEFE3}"/>
              </a:ext>
            </a:extLst>
          </p:cNvPr>
          <p:cNvSpPr>
            <a:spLocks noGrp="1"/>
          </p:cNvSpPr>
          <p:nvPr>
            <p:ph type="pic" sz="quarter" idx="19"/>
          </p:nvPr>
        </p:nvSpPr>
        <p:spPr bwMode="gray">
          <a:xfrm>
            <a:off x="550863" y="1702143"/>
            <a:ext cx="3527728" cy="4191580"/>
          </a:xfrm>
          <a:custGeom>
            <a:avLst/>
            <a:gdLst>
              <a:gd name="connsiteX0" fmla="*/ 0 w 3527728"/>
              <a:gd name="connsiteY0" fmla="*/ 0 h 4191580"/>
              <a:gd name="connsiteX1" fmla="*/ 3527728 w 3527728"/>
              <a:gd name="connsiteY1" fmla="*/ 0 h 4191580"/>
              <a:gd name="connsiteX2" fmla="*/ 3527728 w 3527728"/>
              <a:gd name="connsiteY2" fmla="*/ 4156271 h 4191580"/>
              <a:gd name="connsiteX3" fmla="*/ 3476247 w 3527728"/>
              <a:gd name="connsiteY3" fmla="*/ 4159577 h 4191580"/>
              <a:gd name="connsiteX4" fmla="*/ 3282422 w 3527728"/>
              <a:gd name="connsiteY4" fmla="*/ 4171800 h 4191580"/>
              <a:gd name="connsiteX5" fmla="*/ 3086853 w 3527728"/>
              <a:gd name="connsiteY5" fmla="*/ 4182276 h 4191580"/>
              <a:gd name="connsiteX6" fmla="*/ 2893029 w 3527728"/>
              <a:gd name="connsiteY6" fmla="*/ 4187515 h 4191580"/>
              <a:gd name="connsiteX7" fmla="*/ 2695713 w 3527728"/>
              <a:gd name="connsiteY7" fmla="*/ 4191008 h 4191580"/>
              <a:gd name="connsiteX8" fmla="*/ 2498396 w 3527728"/>
              <a:gd name="connsiteY8" fmla="*/ 4191007 h 4191580"/>
              <a:gd name="connsiteX9" fmla="*/ 2302826 w 3527728"/>
              <a:gd name="connsiteY9" fmla="*/ 4191007 h 4191580"/>
              <a:gd name="connsiteX10" fmla="*/ 2276331 w 3527728"/>
              <a:gd name="connsiteY10" fmla="*/ 4190539 h 4191580"/>
              <a:gd name="connsiteX11" fmla="*/ 2165151 w 3527728"/>
              <a:gd name="connsiteY11" fmla="*/ 4191580 h 4191580"/>
              <a:gd name="connsiteX12" fmla="*/ 331494 w 3527728"/>
              <a:gd name="connsiteY12" fmla="*/ 4053608 h 4191580"/>
              <a:gd name="connsiteX13" fmla="*/ 0 w 3527728"/>
              <a:gd name="connsiteY13" fmla="*/ 3995834 h 4191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27728" h="4191580">
                <a:moveTo>
                  <a:pt x="0" y="0"/>
                </a:moveTo>
                <a:lnTo>
                  <a:pt x="3527728" y="0"/>
                </a:lnTo>
                <a:lnTo>
                  <a:pt x="3527728" y="4156271"/>
                </a:lnTo>
                <a:lnTo>
                  <a:pt x="3476247" y="4159577"/>
                </a:lnTo>
                <a:lnTo>
                  <a:pt x="3282422" y="4171800"/>
                </a:lnTo>
                <a:lnTo>
                  <a:pt x="3086853" y="4182276"/>
                </a:lnTo>
                <a:lnTo>
                  <a:pt x="2893029" y="4187515"/>
                </a:lnTo>
                <a:lnTo>
                  <a:pt x="2695713" y="4191008"/>
                </a:lnTo>
                <a:lnTo>
                  <a:pt x="2498396" y="4191007"/>
                </a:lnTo>
                <a:lnTo>
                  <a:pt x="2302826" y="4191007"/>
                </a:lnTo>
                <a:lnTo>
                  <a:pt x="2276331" y="4190539"/>
                </a:lnTo>
                <a:lnTo>
                  <a:pt x="2165151" y="4191580"/>
                </a:lnTo>
                <a:cubicBezTo>
                  <a:pt x="1511634" y="4184278"/>
                  <a:pt x="895021" y="4136853"/>
                  <a:pt x="331494" y="4053608"/>
                </a:cubicBezTo>
                <a:lnTo>
                  <a:pt x="0" y="3995834"/>
                </a:lnTo>
                <a:close/>
              </a:path>
            </a:pathLst>
          </a:custGeom>
          <a:pattFill prst="ltUpDiag">
            <a:fgClr>
              <a:schemeClr val="accent1"/>
            </a:fgClr>
            <a:bgClr>
              <a:schemeClr val="bg1"/>
            </a:bgClr>
          </a:pattFill>
        </p:spPr>
        <p:txBody>
          <a:bodyPr wrap="square" tIns="0" bIns="648000" anchor="ctr" anchorCtr="1">
            <a:noAutofit/>
          </a:bodyPr>
          <a:lstStyle>
            <a:lvl1pPr marL="0" indent="0" algn="ctr">
              <a:buNone/>
              <a:defRPr sz="1200" b="0" cap="none" baseline="0">
                <a:solidFill>
                  <a:schemeClr val="tx1"/>
                </a:solidFill>
              </a:defRPr>
            </a:lvl1pPr>
          </a:lstStyle>
          <a:p>
            <a:pPr lvl="0"/>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
        <p:nvSpPr>
          <p:cNvPr id="2" name="Titel 1">
            <a:extLst>
              <a:ext uri="{FF2B5EF4-FFF2-40B4-BE49-F238E27FC236}">
                <a16:creationId xmlns:a16="http://schemas.microsoft.com/office/drawing/2014/main" id="{B3DE07DF-95FA-46E4-9FE3-2B5277D24CF0}"/>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870309101"/>
      </p:ext>
    </p:extLst>
  </p:cSld>
  <p:clrMapOvr>
    <a:masterClrMapping/>
  </p:clrMapOvr>
  <p:extLst>
    <p:ext uri="{DCECCB84-F9BA-43D5-87BE-67443E8EF086}">
      <p15:sldGuideLst xmlns:p15="http://schemas.microsoft.com/office/powerpoint/2012/main">
        <p15:guide id="1" pos="2705" userDrawn="1">
          <p15:clr>
            <a:srgbClr val="FBAE40"/>
          </p15:clr>
        </p15:guide>
        <p15:guide id="2" pos="2569"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ve picture">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14" name="Bildplatzhalter 13">
            <a:extLst>
              <a:ext uri="{FF2B5EF4-FFF2-40B4-BE49-F238E27FC236}">
                <a16:creationId xmlns:a16="http://schemas.microsoft.com/office/drawing/2014/main" id="{B9CF6654-9B7B-4740-84E6-4C47A44920BE}"/>
              </a:ext>
            </a:extLst>
          </p:cNvPr>
          <p:cNvSpPr>
            <a:spLocks noGrp="1"/>
          </p:cNvSpPr>
          <p:nvPr>
            <p:ph type="pic" sz="quarter" idx="13"/>
          </p:nvPr>
        </p:nvSpPr>
        <p:spPr bwMode="gray">
          <a:xfrm>
            <a:off x="0" y="1"/>
            <a:ext cx="12190413" cy="3400197"/>
          </a:xfrm>
          <a:custGeom>
            <a:avLst/>
            <a:gdLst>
              <a:gd name="connsiteX0" fmla="*/ 0 w 12163425"/>
              <a:gd name="connsiteY0" fmla="*/ 0 h 3400197"/>
              <a:gd name="connsiteX1" fmla="*/ 12163425 w 12163425"/>
              <a:gd name="connsiteY1" fmla="*/ 0 h 3400197"/>
              <a:gd name="connsiteX2" fmla="*/ 12163425 w 12163425"/>
              <a:gd name="connsiteY2" fmla="*/ 3104771 h 3400197"/>
              <a:gd name="connsiteX3" fmla="*/ 11944739 w 12163425"/>
              <a:gd name="connsiteY3" fmla="*/ 3050530 h 3400197"/>
              <a:gd name="connsiteX4" fmla="*/ 11461636 w 12163425"/>
              <a:gd name="connsiteY4" fmla="*/ 2960582 h 3400197"/>
              <a:gd name="connsiteX5" fmla="*/ 11148514 w 12163425"/>
              <a:gd name="connsiteY5" fmla="*/ 2915310 h 3400197"/>
              <a:gd name="connsiteX6" fmla="*/ 11099011 w 12163425"/>
              <a:gd name="connsiteY6" fmla="*/ 2908757 h 3400197"/>
              <a:gd name="connsiteX7" fmla="*/ 10772767 w 12163425"/>
              <a:gd name="connsiteY7" fmla="*/ 2872420 h 3400197"/>
              <a:gd name="connsiteX8" fmla="*/ 6344919 w 12163425"/>
              <a:gd name="connsiteY8" fmla="*/ 3055891 h 3400197"/>
              <a:gd name="connsiteX9" fmla="*/ 6315099 w 12163425"/>
              <a:gd name="connsiteY9" fmla="*/ 3060657 h 3400197"/>
              <a:gd name="connsiteX10" fmla="*/ 6160624 w 12163425"/>
              <a:gd name="connsiteY10" fmla="*/ 3093419 h 3400197"/>
              <a:gd name="connsiteX11" fmla="*/ 5814102 w 12163425"/>
              <a:gd name="connsiteY11" fmla="*/ 3151201 h 3400197"/>
              <a:gd name="connsiteX12" fmla="*/ 5740147 w 12163425"/>
              <a:gd name="connsiteY12" fmla="*/ 3165497 h 3400197"/>
              <a:gd name="connsiteX13" fmla="*/ 5655455 w 12163425"/>
              <a:gd name="connsiteY13" fmla="*/ 3178006 h 3400197"/>
              <a:gd name="connsiteX14" fmla="*/ 5481896 w 12163425"/>
              <a:gd name="connsiteY14" fmla="*/ 3207195 h 3400197"/>
              <a:gd name="connsiteX15" fmla="*/ 5347104 w 12163425"/>
              <a:gd name="connsiteY15" fmla="*/ 3224470 h 3400197"/>
              <a:gd name="connsiteX16" fmla="*/ 5180702 w 12163425"/>
              <a:gd name="connsiteY16" fmla="*/ 3251276 h 3400197"/>
              <a:gd name="connsiteX17" fmla="*/ 4989846 w 12163425"/>
              <a:gd name="connsiteY17" fmla="*/ 3275699 h 3400197"/>
              <a:gd name="connsiteX18" fmla="*/ 4802569 w 12163425"/>
              <a:gd name="connsiteY18" fmla="*/ 3298335 h 3400197"/>
              <a:gd name="connsiteX19" fmla="*/ 4611714 w 12163425"/>
              <a:gd name="connsiteY19" fmla="*/ 3320971 h 3400197"/>
              <a:gd name="connsiteX20" fmla="*/ 4419069 w 12163425"/>
              <a:gd name="connsiteY20" fmla="*/ 3340033 h 3400197"/>
              <a:gd name="connsiteX21" fmla="*/ 4225231 w 12163425"/>
              <a:gd name="connsiteY21" fmla="*/ 3355520 h 3400197"/>
              <a:gd name="connsiteX22" fmla="*/ 4034376 w 12163425"/>
              <a:gd name="connsiteY22" fmla="*/ 3368030 h 3400197"/>
              <a:gd name="connsiteX23" fmla="*/ 3839942 w 12163425"/>
              <a:gd name="connsiteY23" fmla="*/ 3379943 h 3400197"/>
              <a:gd name="connsiteX24" fmla="*/ 3644315 w 12163425"/>
              <a:gd name="connsiteY24" fmla="*/ 3390666 h 3400197"/>
              <a:gd name="connsiteX25" fmla="*/ 3449881 w 12163425"/>
              <a:gd name="connsiteY25" fmla="*/ 3396027 h 3400197"/>
              <a:gd name="connsiteX26" fmla="*/ 3252465 w 12163425"/>
              <a:gd name="connsiteY26" fmla="*/ 3399601 h 3400197"/>
              <a:gd name="connsiteX27" fmla="*/ 3054453 w 12163425"/>
              <a:gd name="connsiteY27" fmla="*/ 3399601 h 3400197"/>
              <a:gd name="connsiteX28" fmla="*/ 2858826 w 12163425"/>
              <a:gd name="connsiteY28" fmla="*/ 3399601 h 3400197"/>
              <a:gd name="connsiteX29" fmla="*/ 2831987 w 12163425"/>
              <a:gd name="connsiteY29" fmla="*/ 3399005 h 3400197"/>
              <a:gd name="connsiteX30" fmla="*/ 2720455 w 12163425"/>
              <a:gd name="connsiteY30" fmla="*/ 3400197 h 3400197"/>
              <a:gd name="connsiteX31" fmla="*/ 337148 w 12163425"/>
              <a:gd name="connsiteY31" fmla="*/ 3167284 h 3400197"/>
              <a:gd name="connsiteX32" fmla="*/ 157624 w 12163425"/>
              <a:gd name="connsiteY32" fmla="*/ 3125586 h 3400197"/>
              <a:gd name="connsiteX33" fmla="*/ 1361 w 12163425"/>
              <a:gd name="connsiteY33" fmla="*/ 3095802 h 3400197"/>
              <a:gd name="connsiteX34" fmla="*/ 1361 w 12163425"/>
              <a:gd name="connsiteY34" fmla="*/ 3089250 h 3400197"/>
              <a:gd name="connsiteX35" fmla="*/ 0 w 12163425"/>
              <a:gd name="connsiteY35" fmla="*/ 3088797 h 340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63425" h="3400197">
                <a:moveTo>
                  <a:pt x="0" y="0"/>
                </a:moveTo>
                <a:lnTo>
                  <a:pt x="12163425" y="0"/>
                </a:lnTo>
                <a:lnTo>
                  <a:pt x="12163425" y="3104771"/>
                </a:lnTo>
                <a:lnTo>
                  <a:pt x="11944739" y="3050530"/>
                </a:lnTo>
                <a:cubicBezTo>
                  <a:pt x="11789073" y="3017172"/>
                  <a:pt x="11627442" y="2986792"/>
                  <a:pt x="11461636" y="2960582"/>
                </a:cubicBezTo>
                <a:lnTo>
                  <a:pt x="11148514" y="2915310"/>
                </a:lnTo>
                <a:lnTo>
                  <a:pt x="11099011" y="2908757"/>
                </a:lnTo>
                <a:lnTo>
                  <a:pt x="10772767" y="2872420"/>
                </a:lnTo>
                <a:cubicBezTo>
                  <a:pt x="9467197" y="2745540"/>
                  <a:pt x="7933792" y="2807491"/>
                  <a:pt x="6344919" y="3055891"/>
                </a:cubicBezTo>
                <a:lnTo>
                  <a:pt x="6315099" y="3060657"/>
                </a:lnTo>
                <a:lnTo>
                  <a:pt x="6160624" y="3093419"/>
                </a:lnTo>
                <a:lnTo>
                  <a:pt x="5814102" y="3151201"/>
                </a:lnTo>
                <a:lnTo>
                  <a:pt x="5740147" y="3165497"/>
                </a:lnTo>
                <a:lnTo>
                  <a:pt x="5655455" y="3178006"/>
                </a:lnTo>
                <a:lnTo>
                  <a:pt x="5481896" y="3207195"/>
                </a:lnTo>
                <a:lnTo>
                  <a:pt x="5347104" y="3224470"/>
                </a:lnTo>
                <a:lnTo>
                  <a:pt x="5180702" y="3251276"/>
                </a:lnTo>
                <a:lnTo>
                  <a:pt x="4989846" y="3275699"/>
                </a:lnTo>
                <a:lnTo>
                  <a:pt x="4802569" y="3298335"/>
                </a:lnTo>
                <a:lnTo>
                  <a:pt x="4611714" y="3320971"/>
                </a:lnTo>
                <a:lnTo>
                  <a:pt x="4419069" y="3340033"/>
                </a:lnTo>
                <a:lnTo>
                  <a:pt x="4225231" y="3355520"/>
                </a:lnTo>
                <a:lnTo>
                  <a:pt x="4034376" y="3368030"/>
                </a:lnTo>
                <a:lnTo>
                  <a:pt x="3839942" y="3379943"/>
                </a:lnTo>
                <a:lnTo>
                  <a:pt x="3644315" y="3390666"/>
                </a:lnTo>
                <a:lnTo>
                  <a:pt x="3449881" y="3396027"/>
                </a:lnTo>
                <a:lnTo>
                  <a:pt x="3252465" y="3399601"/>
                </a:lnTo>
                <a:lnTo>
                  <a:pt x="3054453" y="3399601"/>
                </a:lnTo>
                <a:lnTo>
                  <a:pt x="2858826" y="3399601"/>
                </a:lnTo>
                <a:lnTo>
                  <a:pt x="2831987" y="3399005"/>
                </a:lnTo>
                <a:lnTo>
                  <a:pt x="2720455" y="3400197"/>
                </a:lnTo>
                <a:cubicBezTo>
                  <a:pt x="1847888" y="3390070"/>
                  <a:pt x="1040331" y="3309057"/>
                  <a:pt x="337148" y="3167284"/>
                </a:cubicBezTo>
                <a:lnTo>
                  <a:pt x="157624" y="3125586"/>
                </a:lnTo>
                <a:lnTo>
                  <a:pt x="1361" y="3095802"/>
                </a:lnTo>
                <a:lnTo>
                  <a:pt x="1361" y="3089250"/>
                </a:lnTo>
                <a:lnTo>
                  <a:pt x="0" y="3088797"/>
                </a:lnTo>
                <a:close/>
              </a:path>
            </a:pathLst>
          </a:custGeom>
          <a:pattFill prst="ltUpDiag">
            <a:fgClr>
              <a:schemeClr val="accent1"/>
            </a:fgClr>
            <a:bgClr>
              <a:schemeClr val="bg1"/>
            </a:bgClr>
          </a:pattFill>
        </p:spPr>
        <p:txBody>
          <a:bodyPr wrap="square" bIns="648000" anchor="ctr" anchorCtr="0">
            <a:noAutofit/>
          </a:bodyPr>
          <a:lstStyle>
            <a:lvl1pPr algn="ctr">
              <a:defRPr sz="1200"/>
            </a:lvl1pPr>
          </a:lstStyle>
          <a:p>
            <a:endParaRPr lang="de-DE"/>
          </a:p>
        </p:txBody>
      </p:sp>
    </p:spTree>
    <p:extLst>
      <p:ext uri="{BB962C8B-B14F-4D97-AF65-F5344CB8AC3E}">
        <p14:creationId xmlns:p14="http://schemas.microsoft.com/office/powerpoint/2010/main" val="3436897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centere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6B024B37-A2CD-4E9F-B096-511D33649CF6}"/>
              </a:ext>
            </a:extLst>
          </p:cNvPr>
          <p:cNvSpPr>
            <a:spLocks noGrp="1"/>
          </p:cNvSpPr>
          <p:nvPr>
            <p:ph type="pic" sz="quarter" idx="14"/>
          </p:nvPr>
        </p:nvSpPr>
        <p:spPr>
          <a:xfrm>
            <a:off x="4331494" y="1711326"/>
            <a:ext cx="3527425" cy="4249737"/>
          </a:xfrm>
          <a:pattFill prst="ltUpDiag">
            <a:fgClr>
              <a:schemeClr val="accent1"/>
            </a:fgClr>
            <a:bgClr>
              <a:schemeClr val="bg1"/>
            </a:bgClr>
          </a:pattFill>
        </p:spPr>
        <p:txBody>
          <a:bodyPr bIns="648000" anchor="ctr" anchorCtr="0"/>
          <a:lstStyle>
            <a:lvl1pPr algn="ctr">
              <a:defRPr sz="1200" u="none"/>
            </a:lvl1pPr>
          </a:lstStyle>
          <a:p>
            <a:endParaRPr lang="de-DE" dirty="0"/>
          </a:p>
        </p:txBody>
      </p:sp>
      <p:sp>
        <p:nvSpPr>
          <p:cNvPr id="2" name="Titel 1"/>
          <p:cNvSpPr>
            <a:spLocks noGrp="1"/>
          </p:cNvSpPr>
          <p:nvPr>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4246717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ptop Screen">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pic>
        <p:nvPicPr>
          <p:cNvPr id="10" name="Picture 2" descr="C:\Users\bandelow\Desktop\Zeug\Monitore_Laptop.png">
            <a:extLst>
              <a:ext uri="{FF2B5EF4-FFF2-40B4-BE49-F238E27FC236}">
                <a16:creationId xmlns:a16="http://schemas.microsoft.com/office/drawing/2014/main" id="{6DA23A91-9887-4299-99E7-488EBF108F8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5733995" y="1701800"/>
            <a:ext cx="7346181" cy="424815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Gerader Verbinder 12">
            <a:extLst>
              <a:ext uri="{FF2B5EF4-FFF2-40B4-BE49-F238E27FC236}">
                <a16:creationId xmlns:a16="http://schemas.microsoft.com/office/drawing/2014/main" id="{96185E96-7390-4BAC-96EC-A9ED030CB5C4}"/>
              </a:ext>
            </a:extLst>
          </p:cNvPr>
          <p:cNvCxnSpPr/>
          <p:nvPr userDrawn="1">
            <p:custDataLst>
              <p:tags r:id="rId1"/>
            </p:custDataLst>
          </p:nvPr>
        </p:nvCxnSpPr>
        <p:spPr bwMode="gray">
          <a:xfrm>
            <a:off x="550436" y="2349644"/>
            <a:ext cx="50400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Inhaltsplatzhalter 2">
            <a:extLst>
              <a:ext uri="{FF2B5EF4-FFF2-40B4-BE49-F238E27FC236}">
                <a16:creationId xmlns:a16="http://schemas.microsoft.com/office/drawing/2014/main" id="{C299B181-0583-45C6-8C69-E480A8522313}"/>
              </a:ext>
            </a:extLst>
          </p:cNvPr>
          <p:cNvSpPr>
            <a:spLocks noGrp="1"/>
          </p:cNvSpPr>
          <p:nvPr userDrawn="1">
            <p:ph sz="quarter" idx="15" hasCustomPrompt="1"/>
          </p:nvPr>
        </p:nvSpPr>
        <p:spPr bwMode="gray">
          <a:xfrm>
            <a:off x="550436" y="2493554"/>
            <a:ext cx="3456426" cy="34560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Textplatzhalter 16">
            <a:extLst>
              <a:ext uri="{FF2B5EF4-FFF2-40B4-BE49-F238E27FC236}">
                <a16:creationId xmlns:a16="http://schemas.microsoft.com/office/drawing/2014/main" id="{43183503-C157-42F0-9D7C-89D2D1327DC3}"/>
              </a:ext>
            </a:extLst>
          </p:cNvPr>
          <p:cNvSpPr>
            <a:spLocks noGrp="1"/>
          </p:cNvSpPr>
          <p:nvPr userDrawn="1">
            <p:ph type="body" sz="quarter" idx="16"/>
          </p:nvPr>
        </p:nvSpPr>
        <p:spPr>
          <a:xfrm>
            <a:off x="550010" y="1701555"/>
            <a:ext cx="3456000" cy="647900"/>
          </a:xfrm>
        </p:spPr>
        <p:txBody>
          <a:bodyPr bIns="144000" anchor="b" anchorCtr="0"/>
          <a:lstStyle>
            <a:lvl1pPr>
              <a:defRPr sz="1800" b="1"/>
            </a:lvl1pPr>
            <a:lvl2pPr marL="0" indent="0">
              <a:buFontTx/>
              <a:buNone/>
              <a:defRPr sz="1800" b="1"/>
            </a:lvl2pPr>
            <a:lvl3pPr marL="0" indent="0">
              <a:buFontTx/>
              <a:buNone/>
              <a:defRPr sz="1800" b="1"/>
            </a:lvl3pPr>
            <a:lvl4pPr marL="0" indent="0">
              <a:buFontTx/>
              <a:buNone/>
              <a:defRPr sz="1800" b="1"/>
            </a:lvl4pPr>
            <a:lvl5pPr marL="0" indent="0">
              <a:buFontTx/>
              <a:buNone/>
              <a:defRPr sz="1800" b="1"/>
            </a:lvl5pPr>
          </a:lstStyle>
          <a:p>
            <a:pPr lvl="0"/>
            <a:r>
              <a:rPr lang="de-DE" dirty="0"/>
              <a:t>Mastertextformat bearbeiten</a:t>
            </a:r>
          </a:p>
        </p:txBody>
      </p:sp>
      <p:sp>
        <p:nvSpPr>
          <p:cNvPr id="21" name="Bildplatzhalter 19">
            <a:extLst>
              <a:ext uri="{FF2B5EF4-FFF2-40B4-BE49-F238E27FC236}">
                <a16:creationId xmlns:a16="http://schemas.microsoft.com/office/drawing/2014/main" id="{3666E3C9-C675-4954-B39B-81B2C0C28F9D}"/>
              </a:ext>
            </a:extLst>
          </p:cNvPr>
          <p:cNvSpPr>
            <a:spLocks noGrp="1"/>
          </p:cNvSpPr>
          <p:nvPr>
            <p:ph type="pic" sz="quarter" idx="17"/>
          </p:nvPr>
        </p:nvSpPr>
        <p:spPr>
          <a:xfrm>
            <a:off x="6635366" y="1958383"/>
            <a:ext cx="5534025" cy="3540125"/>
          </a:xfrm>
          <a:pattFill prst="ltUpDiag">
            <a:fgClr>
              <a:schemeClr val="accent1"/>
            </a:fgClr>
            <a:bgClr>
              <a:schemeClr val="bg1"/>
            </a:bgClr>
          </a:pattFill>
        </p:spPr>
        <p:txBody>
          <a:bodyPr bIns="648000" anchor="ctr" anchorCtr="0"/>
          <a:lstStyle>
            <a:lvl1pPr algn="ctr">
              <a:defRPr sz="1200"/>
            </a:lvl1pPr>
          </a:lstStyle>
          <a:p>
            <a:endParaRPr lang="de-DE" dirty="0"/>
          </a:p>
        </p:txBody>
      </p:sp>
    </p:spTree>
    <p:extLst>
      <p:ext uri="{BB962C8B-B14F-4D97-AF65-F5344CB8AC3E}">
        <p14:creationId xmlns:p14="http://schemas.microsoft.com/office/powerpoint/2010/main" val="4095266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onitor Screen">
    <p:spTree>
      <p:nvGrpSpPr>
        <p:cNvPr id="1" name=""/>
        <p:cNvGrpSpPr/>
        <p:nvPr/>
      </p:nvGrpSpPr>
      <p:grpSpPr>
        <a:xfrm>
          <a:off x="0" y="0"/>
          <a:ext cx="0" cy="0"/>
          <a:chOff x="0" y="0"/>
          <a:chExt cx="0" cy="0"/>
        </a:xfrm>
      </p:grpSpPr>
      <p:pic>
        <p:nvPicPr>
          <p:cNvPr id="15" name="Picture 2" descr="C:\Users\bandelow\Desktop\Monitore_Computer.png">
            <a:extLst>
              <a:ext uri="{FF2B5EF4-FFF2-40B4-BE49-F238E27FC236}">
                <a16:creationId xmlns:a16="http://schemas.microsoft.com/office/drawing/2014/main" id="{5D6CBE8D-9D8E-454A-9EC4-5433EBCBFD5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653093" y="1701801"/>
            <a:ext cx="5306233" cy="4248150"/>
          </a:xfrm>
          <a:prstGeom prst="rect">
            <a:avLst/>
          </a:prstGeom>
          <a:noFill/>
          <a:extLst>
            <a:ext uri="{909E8E84-426E-40DD-AFC4-6F175D3DCCD1}">
              <a14:hiddenFill xmlns:a14="http://schemas.microsoft.com/office/drawing/2010/main">
                <a:solidFill>
                  <a:srgbClr val="FFFFFF"/>
                </a:solidFill>
              </a14:hiddenFill>
            </a:ext>
          </a:extLst>
        </p:spPr>
      </p:pic>
      <p:sp>
        <p:nvSpPr>
          <p:cNvPr id="25" name="Bildplatzhalter 8">
            <a:extLst>
              <a:ext uri="{FF2B5EF4-FFF2-40B4-BE49-F238E27FC236}">
                <a16:creationId xmlns:a16="http://schemas.microsoft.com/office/drawing/2014/main" id="{CE87011E-1361-45FA-B8FA-E08B105B26A5}"/>
              </a:ext>
            </a:extLst>
          </p:cNvPr>
          <p:cNvSpPr>
            <a:spLocks noGrp="1"/>
          </p:cNvSpPr>
          <p:nvPr>
            <p:ph type="pic" sz="quarter" idx="17"/>
          </p:nvPr>
        </p:nvSpPr>
        <p:spPr>
          <a:xfrm>
            <a:off x="1860009" y="1916470"/>
            <a:ext cx="4892400" cy="2750400"/>
          </a:xfrm>
          <a:pattFill prst="ltUpDiag">
            <a:fgClr>
              <a:schemeClr val="accent1"/>
            </a:fgClr>
            <a:bgClr>
              <a:schemeClr val="bg1"/>
            </a:bgClr>
          </a:pattFill>
        </p:spPr>
        <p:txBody>
          <a:bodyPr bIns="648000" anchor="ctr" anchorCtr="0"/>
          <a:lstStyle>
            <a:lvl1pPr algn="ctr">
              <a:defRPr sz="1200"/>
            </a:lvl1pPr>
          </a:lstStyle>
          <a:p>
            <a:endParaRPr lang="de-DE"/>
          </a:p>
        </p:txBody>
      </p:sp>
      <p:sp>
        <p:nvSpPr>
          <p:cNvPr id="2" name="Titel 1"/>
          <p:cNvSpPr>
            <a:spLocks noGrp="1"/>
          </p:cNvSpPr>
          <p:nvPr>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cxnSp>
        <p:nvCxnSpPr>
          <p:cNvPr id="13" name="Gerader Verbinder 12">
            <a:extLst>
              <a:ext uri="{FF2B5EF4-FFF2-40B4-BE49-F238E27FC236}">
                <a16:creationId xmlns:a16="http://schemas.microsoft.com/office/drawing/2014/main" id="{96185E96-7390-4BAC-96EC-A9ED030CB5C4}"/>
              </a:ext>
            </a:extLst>
          </p:cNvPr>
          <p:cNvCxnSpPr/>
          <p:nvPr userDrawn="1">
            <p:custDataLst>
              <p:tags r:id="rId1"/>
            </p:custDataLst>
          </p:nvPr>
        </p:nvCxnSpPr>
        <p:spPr bwMode="gray">
          <a:xfrm>
            <a:off x="8183550" y="2349644"/>
            <a:ext cx="50400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Inhaltsplatzhalter 2">
            <a:extLst>
              <a:ext uri="{FF2B5EF4-FFF2-40B4-BE49-F238E27FC236}">
                <a16:creationId xmlns:a16="http://schemas.microsoft.com/office/drawing/2014/main" id="{C299B181-0583-45C6-8C69-E480A8522313}"/>
              </a:ext>
            </a:extLst>
          </p:cNvPr>
          <p:cNvSpPr>
            <a:spLocks noGrp="1"/>
          </p:cNvSpPr>
          <p:nvPr userDrawn="1">
            <p:ph sz="quarter" idx="15" hasCustomPrompt="1"/>
          </p:nvPr>
        </p:nvSpPr>
        <p:spPr bwMode="gray">
          <a:xfrm>
            <a:off x="8183550" y="2493554"/>
            <a:ext cx="3456426" cy="34560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Textplatzhalter 16">
            <a:extLst>
              <a:ext uri="{FF2B5EF4-FFF2-40B4-BE49-F238E27FC236}">
                <a16:creationId xmlns:a16="http://schemas.microsoft.com/office/drawing/2014/main" id="{43183503-C157-42F0-9D7C-89D2D1327DC3}"/>
              </a:ext>
            </a:extLst>
          </p:cNvPr>
          <p:cNvSpPr>
            <a:spLocks noGrp="1"/>
          </p:cNvSpPr>
          <p:nvPr userDrawn="1">
            <p:ph type="body" sz="quarter" idx="16"/>
          </p:nvPr>
        </p:nvSpPr>
        <p:spPr>
          <a:xfrm>
            <a:off x="8183124" y="1701555"/>
            <a:ext cx="3456000" cy="647900"/>
          </a:xfrm>
        </p:spPr>
        <p:txBody>
          <a:bodyPr bIns="144000" anchor="b" anchorCtr="0"/>
          <a:lstStyle>
            <a:lvl1pPr>
              <a:defRPr sz="1800" b="1"/>
            </a:lvl1pPr>
            <a:lvl2pPr marL="0" indent="0">
              <a:buFontTx/>
              <a:buNone/>
              <a:defRPr sz="1800" b="1"/>
            </a:lvl2pPr>
            <a:lvl3pPr marL="0" indent="0">
              <a:buFontTx/>
              <a:buNone/>
              <a:defRPr sz="1800" b="1"/>
            </a:lvl3pPr>
            <a:lvl4pPr marL="0" indent="0">
              <a:buFontTx/>
              <a:buNone/>
              <a:defRPr sz="1800" b="1"/>
            </a:lvl4pPr>
            <a:lvl5pPr marL="0" indent="0">
              <a:buFontTx/>
              <a:buNone/>
              <a:defRPr sz="1800" b="1"/>
            </a:lvl5pPr>
          </a:lstStyle>
          <a:p>
            <a:pPr lvl="0"/>
            <a:r>
              <a:rPr lang="de-DE" dirty="0"/>
              <a:t>Mastertextformat bearbeiten</a:t>
            </a:r>
          </a:p>
        </p:txBody>
      </p:sp>
    </p:spTree>
    <p:extLst>
      <p:ext uri="{BB962C8B-B14F-4D97-AF65-F5344CB8AC3E}">
        <p14:creationId xmlns:p14="http://schemas.microsoft.com/office/powerpoint/2010/main" val="24916037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t Screen">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6D9B4122-7B77-453C-9B40-C0C844011EFD}"/>
              </a:ext>
            </a:extLst>
          </p:cNvPr>
          <p:cNvSpPr/>
          <p:nvPr userDrawn="1"/>
        </p:nvSpPr>
        <p:spPr bwMode="gray">
          <a:xfrm>
            <a:off x="6095207" y="1241"/>
            <a:ext cx="6095206" cy="6857107"/>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de-DE" sz="1600" dirty="0" err="1">
              <a:solidFill>
                <a:schemeClr val="tx1"/>
              </a:solidFill>
            </a:endParaRPr>
          </a:p>
        </p:txBody>
      </p:sp>
      <p:pic>
        <p:nvPicPr>
          <p:cNvPr id="19" name="Picture 428" descr="C:\Users\bandelow\Desktop\Zeug\Monitore_Tablet.png">
            <a:extLst>
              <a:ext uri="{FF2B5EF4-FFF2-40B4-BE49-F238E27FC236}">
                <a16:creationId xmlns:a16="http://schemas.microsoft.com/office/drawing/2014/main" id="{E0A3F7ED-3C47-4504-BECC-9363345C658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794072" y="1700213"/>
            <a:ext cx="5669146" cy="4285246"/>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Gerader Verbinder 21">
            <a:extLst>
              <a:ext uri="{FF2B5EF4-FFF2-40B4-BE49-F238E27FC236}">
                <a16:creationId xmlns:a16="http://schemas.microsoft.com/office/drawing/2014/main" id="{5008A449-952D-46F0-98CE-DED020AFD12D}"/>
              </a:ext>
            </a:extLst>
          </p:cNvPr>
          <p:cNvCxnSpPr/>
          <p:nvPr userDrawn="1">
            <p:custDataLst>
              <p:tags r:id="rId1"/>
            </p:custDataLst>
          </p:nvPr>
        </p:nvCxnSpPr>
        <p:spPr bwMode="gray">
          <a:xfrm>
            <a:off x="8182887" y="2349644"/>
            <a:ext cx="504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userDrawn="1">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userDrawn="1">
            <p:ph type="dt" sz="half" idx="10"/>
          </p:nvPr>
        </p:nvSpPr>
        <p:spPr bwMode="gray"/>
        <p:txBody>
          <a:bodyPr/>
          <a:lstStyle/>
          <a:p>
            <a:r>
              <a:rPr lang="en-US"/>
              <a:t>01/10/2019</a:t>
            </a:r>
            <a:endParaRPr lang="en-US" dirty="0"/>
          </a:p>
        </p:txBody>
      </p:sp>
      <p:sp>
        <p:nvSpPr>
          <p:cNvPr id="4" name="Fußzeilenplatzhalter 3"/>
          <p:cNvSpPr>
            <a:spLocks noGrp="1"/>
          </p:cNvSpPr>
          <p:nvPr userDrawn="1">
            <p:ph type="ftr" sz="quarter" idx="11"/>
          </p:nvPr>
        </p:nvSpPr>
        <p:spPr bwMode="gray"/>
        <p:txBody>
          <a:bodyPr/>
          <a:lstStyle/>
          <a:p>
            <a:r>
              <a:rPr lang="en-US"/>
              <a:t>Training Master</a:t>
            </a:r>
            <a:endParaRPr lang="en-US" dirty="0"/>
          </a:p>
        </p:txBody>
      </p:sp>
      <p:sp>
        <p:nvSpPr>
          <p:cNvPr id="5" name="Foliennummernplatzhalter 4"/>
          <p:cNvSpPr>
            <a:spLocks noGrp="1"/>
          </p:cNvSpPr>
          <p:nvPr userDrawn="1">
            <p:ph type="sldNum" sz="quarter" idx="12"/>
          </p:nvPr>
        </p:nvSpPr>
        <p:spPr bwMode="gray"/>
        <p:txBody>
          <a:bodyPr/>
          <a:lstStyle/>
          <a:p>
            <a:fld id="{4915BD61-E5D5-4E4F-ADA0-6F3448AB9FA6}" type="slidenum">
              <a:rPr lang="en-US" smtClean="0"/>
              <a:pPr/>
              <a:t>‹Nr.›</a:t>
            </a:fld>
            <a:endParaRPr lang="en-US" dirty="0"/>
          </a:p>
        </p:txBody>
      </p:sp>
      <p:sp>
        <p:nvSpPr>
          <p:cNvPr id="7" name="Textplatzhalter 6"/>
          <p:cNvSpPr>
            <a:spLocks noGrp="1"/>
          </p:cNvSpPr>
          <p:nvPr userDrawn="1">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cxnSp>
        <p:nvCxnSpPr>
          <p:cNvPr id="13" name="Gerader Verbinder 12">
            <a:extLst>
              <a:ext uri="{FF2B5EF4-FFF2-40B4-BE49-F238E27FC236}">
                <a16:creationId xmlns:a16="http://schemas.microsoft.com/office/drawing/2014/main" id="{96185E96-7390-4BAC-96EC-A9ED030CB5C4}"/>
              </a:ext>
            </a:extLst>
          </p:cNvPr>
          <p:cNvCxnSpPr/>
          <p:nvPr userDrawn="1">
            <p:custDataLst>
              <p:tags r:id="rId2"/>
            </p:custDataLst>
          </p:nvPr>
        </p:nvCxnSpPr>
        <p:spPr bwMode="gray">
          <a:xfrm>
            <a:off x="8183550" y="2349644"/>
            <a:ext cx="504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Inhaltsplatzhalter 2">
            <a:extLst>
              <a:ext uri="{FF2B5EF4-FFF2-40B4-BE49-F238E27FC236}">
                <a16:creationId xmlns:a16="http://schemas.microsoft.com/office/drawing/2014/main" id="{408A4CA4-4EF2-4DD0-B04B-56BEE49D6702}"/>
              </a:ext>
            </a:extLst>
          </p:cNvPr>
          <p:cNvSpPr>
            <a:spLocks noGrp="1"/>
          </p:cNvSpPr>
          <p:nvPr userDrawn="1">
            <p:ph sz="quarter" idx="15" hasCustomPrompt="1"/>
          </p:nvPr>
        </p:nvSpPr>
        <p:spPr bwMode="gray">
          <a:xfrm>
            <a:off x="8183550" y="2493554"/>
            <a:ext cx="3456426" cy="3456000"/>
          </a:xfrm>
        </p:spPr>
        <p:txBody>
          <a:bodyPr/>
          <a:lstStyle>
            <a:lvl1pPr>
              <a:defRPr sz="18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defRPr sz="1800">
                <a:solidFill>
                  <a:schemeClr val="bg1"/>
                </a:solidFill>
              </a:defRPr>
            </a:lvl4pPr>
            <a:lvl5pPr>
              <a:defRPr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6" name="Textplatzhalter 16">
            <a:extLst>
              <a:ext uri="{FF2B5EF4-FFF2-40B4-BE49-F238E27FC236}">
                <a16:creationId xmlns:a16="http://schemas.microsoft.com/office/drawing/2014/main" id="{BF543DF8-8001-47DD-968F-BCF210EEFC1C}"/>
              </a:ext>
            </a:extLst>
          </p:cNvPr>
          <p:cNvSpPr>
            <a:spLocks noGrp="1"/>
          </p:cNvSpPr>
          <p:nvPr userDrawn="1">
            <p:ph type="body" sz="quarter" idx="16"/>
          </p:nvPr>
        </p:nvSpPr>
        <p:spPr>
          <a:xfrm>
            <a:off x="8183124" y="1701555"/>
            <a:ext cx="3456000" cy="647900"/>
          </a:xfrm>
        </p:spPr>
        <p:txBody>
          <a:bodyPr bIns="144000" anchor="b" anchorCtr="0"/>
          <a:lstStyle>
            <a:lvl1pPr>
              <a:defRPr sz="1800" b="1">
                <a:solidFill>
                  <a:schemeClr val="bg1"/>
                </a:solidFill>
              </a:defRPr>
            </a:lvl1pPr>
            <a:lvl2pPr marL="0" indent="0">
              <a:buFontTx/>
              <a:buNone/>
              <a:defRPr sz="1800" b="1"/>
            </a:lvl2pPr>
            <a:lvl3pPr marL="0" indent="0">
              <a:buFontTx/>
              <a:buNone/>
              <a:defRPr sz="1800" b="1"/>
            </a:lvl3pPr>
            <a:lvl4pPr marL="0" indent="0">
              <a:buFontTx/>
              <a:buNone/>
              <a:defRPr sz="1800" b="1"/>
            </a:lvl4pPr>
            <a:lvl5pPr marL="0" indent="0">
              <a:buFontTx/>
              <a:buNone/>
              <a:defRPr sz="1800" b="1"/>
            </a:lvl5pPr>
          </a:lstStyle>
          <a:p>
            <a:pPr lvl="0"/>
            <a:r>
              <a:rPr lang="de-DE" dirty="0"/>
              <a:t>Mastertextformat bearbeiten</a:t>
            </a:r>
          </a:p>
        </p:txBody>
      </p:sp>
      <p:sp>
        <p:nvSpPr>
          <p:cNvPr id="27" name="Bildplatzhalter 8">
            <a:extLst>
              <a:ext uri="{FF2B5EF4-FFF2-40B4-BE49-F238E27FC236}">
                <a16:creationId xmlns:a16="http://schemas.microsoft.com/office/drawing/2014/main" id="{C7AE3E79-1748-461B-B237-66D207B1C495}"/>
              </a:ext>
            </a:extLst>
          </p:cNvPr>
          <p:cNvSpPr>
            <a:spLocks noGrp="1"/>
          </p:cNvSpPr>
          <p:nvPr>
            <p:ph type="pic" sz="quarter" idx="17"/>
          </p:nvPr>
        </p:nvSpPr>
        <p:spPr>
          <a:xfrm>
            <a:off x="2198942" y="2104973"/>
            <a:ext cx="4859337" cy="3477600"/>
          </a:xfrm>
          <a:pattFill prst="ltUpDiag">
            <a:fgClr>
              <a:schemeClr val="accent1"/>
            </a:fgClr>
            <a:bgClr>
              <a:schemeClr val="bg1"/>
            </a:bgClr>
          </a:pattFill>
        </p:spPr>
        <p:txBody>
          <a:bodyPr bIns="648000" anchor="ctr" anchorCtr="0"/>
          <a:lstStyle>
            <a:lvl1pPr algn="ctr">
              <a:defRPr sz="1200"/>
            </a:lvl1pPr>
          </a:lstStyle>
          <a:p>
            <a:endParaRPr lang="de-DE"/>
          </a:p>
        </p:txBody>
      </p:sp>
      <p:pic>
        <p:nvPicPr>
          <p:cNvPr id="15" name="Grafik 8">
            <a:extLst>
              <a:ext uri="{FF2B5EF4-FFF2-40B4-BE49-F238E27FC236}">
                <a16:creationId xmlns:a16="http://schemas.microsoft.com/office/drawing/2014/main" id="{D1B5E144-178B-4121-AD14-4BE461F14A83}"/>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15737061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martphone Screen">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6D9B4122-7B77-453C-9B40-C0C844011EFD}"/>
              </a:ext>
            </a:extLst>
          </p:cNvPr>
          <p:cNvSpPr/>
          <p:nvPr userDrawn="1"/>
        </p:nvSpPr>
        <p:spPr bwMode="gray">
          <a:xfrm>
            <a:off x="6095207" y="1241"/>
            <a:ext cx="6095206" cy="6857107"/>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de-DE" sz="1600" dirty="0" err="1">
              <a:solidFill>
                <a:schemeClr val="tx1"/>
              </a:solidFill>
            </a:endParaRPr>
          </a:p>
        </p:txBody>
      </p:sp>
      <p:cxnSp>
        <p:nvCxnSpPr>
          <p:cNvPr id="22" name="Gerader Verbinder 21">
            <a:extLst>
              <a:ext uri="{FF2B5EF4-FFF2-40B4-BE49-F238E27FC236}">
                <a16:creationId xmlns:a16="http://schemas.microsoft.com/office/drawing/2014/main" id="{5008A449-952D-46F0-98CE-DED020AFD12D}"/>
              </a:ext>
            </a:extLst>
          </p:cNvPr>
          <p:cNvCxnSpPr/>
          <p:nvPr userDrawn="1">
            <p:custDataLst>
              <p:tags r:id="rId1"/>
            </p:custDataLst>
          </p:nvPr>
        </p:nvCxnSpPr>
        <p:spPr bwMode="gray">
          <a:xfrm>
            <a:off x="8182887" y="2349644"/>
            <a:ext cx="504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userDrawn="1">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userDrawn="1">
            <p:ph type="dt" sz="half" idx="10"/>
          </p:nvPr>
        </p:nvSpPr>
        <p:spPr bwMode="gray"/>
        <p:txBody>
          <a:bodyPr/>
          <a:lstStyle/>
          <a:p>
            <a:r>
              <a:rPr lang="en-US"/>
              <a:t>01/10/2019</a:t>
            </a:r>
            <a:endParaRPr lang="en-US" dirty="0"/>
          </a:p>
        </p:txBody>
      </p:sp>
      <p:sp>
        <p:nvSpPr>
          <p:cNvPr id="4" name="Fußzeilenplatzhalter 3"/>
          <p:cNvSpPr>
            <a:spLocks noGrp="1"/>
          </p:cNvSpPr>
          <p:nvPr userDrawn="1">
            <p:ph type="ftr" sz="quarter" idx="11"/>
          </p:nvPr>
        </p:nvSpPr>
        <p:spPr bwMode="gray"/>
        <p:txBody>
          <a:bodyPr/>
          <a:lstStyle/>
          <a:p>
            <a:r>
              <a:rPr lang="en-US"/>
              <a:t>Training Master</a:t>
            </a:r>
            <a:endParaRPr lang="en-US" dirty="0"/>
          </a:p>
        </p:txBody>
      </p:sp>
      <p:sp>
        <p:nvSpPr>
          <p:cNvPr id="5" name="Foliennummernplatzhalter 4"/>
          <p:cNvSpPr>
            <a:spLocks noGrp="1"/>
          </p:cNvSpPr>
          <p:nvPr userDrawn="1">
            <p:ph type="sldNum" sz="quarter" idx="12"/>
          </p:nvPr>
        </p:nvSpPr>
        <p:spPr bwMode="gray"/>
        <p:txBody>
          <a:bodyPr/>
          <a:lstStyle/>
          <a:p>
            <a:fld id="{4915BD61-E5D5-4E4F-ADA0-6F3448AB9FA6}" type="slidenum">
              <a:rPr lang="en-US" smtClean="0"/>
              <a:pPr/>
              <a:t>‹Nr.›</a:t>
            </a:fld>
            <a:endParaRPr lang="en-US" dirty="0"/>
          </a:p>
        </p:txBody>
      </p:sp>
      <p:sp>
        <p:nvSpPr>
          <p:cNvPr id="7" name="Textplatzhalter 6"/>
          <p:cNvSpPr>
            <a:spLocks noGrp="1"/>
          </p:cNvSpPr>
          <p:nvPr userDrawn="1">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cxnSp>
        <p:nvCxnSpPr>
          <p:cNvPr id="13" name="Gerader Verbinder 12">
            <a:extLst>
              <a:ext uri="{FF2B5EF4-FFF2-40B4-BE49-F238E27FC236}">
                <a16:creationId xmlns:a16="http://schemas.microsoft.com/office/drawing/2014/main" id="{96185E96-7390-4BAC-96EC-A9ED030CB5C4}"/>
              </a:ext>
            </a:extLst>
          </p:cNvPr>
          <p:cNvCxnSpPr/>
          <p:nvPr userDrawn="1">
            <p:custDataLst>
              <p:tags r:id="rId2"/>
            </p:custDataLst>
          </p:nvPr>
        </p:nvCxnSpPr>
        <p:spPr bwMode="gray">
          <a:xfrm>
            <a:off x="8183550" y="2349644"/>
            <a:ext cx="504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Inhaltsplatzhalter 2">
            <a:extLst>
              <a:ext uri="{FF2B5EF4-FFF2-40B4-BE49-F238E27FC236}">
                <a16:creationId xmlns:a16="http://schemas.microsoft.com/office/drawing/2014/main" id="{408A4CA4-4EF2-4DD0-B04B-56BEE49D6702}"/>
              </a:ext>
            </a:extLst>
          </p:cNvPr>
          <p:cNvSpPr>
            <a:spLocks noGrp="1"/>
          </p:cNvSpPr>
          <p:nvPr userDrawn="1">
            <p:ph sz="quarter" idx="15" hasCustomPrompt="1"/>
          </p:nvPr>
        </p:nvSpPr>
        <p:spPr bwMode="gray">
          <a:xfrm>
            <a:off x="8183550" y="2493554"/>
            <a:ext cx="3456426" cy="3456000"/>
          </a:xfrm>
        </p:spPr>
        <p:txBody>
          <a:bodyPr/>
          <a:lstStyle>
            <a:lvl1pPr>
              <a:defRPr sz="18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defRPr sz="1800">
                <a:solidFill>
                  <a:schemeClr val="bg1"/>
                </a:solidFill>
              </a:defRPr>
            </a:lvl4pPr>
            <a:lvl5pPr>
              <a:defRPr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6" name="Textplatzhalter 16">
            <a:extLst>
              <a:ext uri="{FF2B5EF4-FFF2-40B4-BE49-F238E27FC236}">
                <a16:creationId xmlns:a16="http://schemas.microsoft.com/office/drawing/2014/main" id="{BF543DF8-8001-47DD-968F-BCF210EEFC1C}"/>
              </a:ext>
            </a:extLst>
          </p:cNvPr>
          <p:cNvSpPr>
            <a:spLocks noGrp="1"/>
          </p:cNvSpPr>
          <p:nvPr userDrawn="1">
            <p:ph type="body" sz="quarter" idx="16"/>
          </p:nvPr>
        </p:nvSpPr>
        <p:spPr>
          <a:xfrm>
            <a:off x="8183124" y="1701555"/>
            <a:ext cx="3456000" cy="647900"/>
          </a:xfrm>
        </p:spPr>
        <p:txBody>
          <a:bodyPr bIns="144000" anchor="b" anchorCtr="0"/>
          <a:lstStyle>
            <a:lvl1pPr>
              <a:defRPr sz="1800" b="1">
                <a:solidFill>
                  <a:schemeClr val="bg1"/>
                </a:solidFill>
              </a:defRPr>
            </a:lvl1pPr>
            <a:lvl2pPr marL="0" indent="0">
              <a:buFontTx/>
              <a:buNone/>
              <a:defRPr sz="1800" b="1"/>
            </a:lvl2pPr>
            <a:lvl3pPr marL="0" indent="0">
              <a:buFontTx/>
              <a:buNone/>
              <a:defRPr sz="1800" b="1"/>
            </a:lvl3pPr>
            <a:lvl4pPr marL="0" indent="0">
              <a:buFontTx/>
              <a:buNone/>
              <a:defRPr sz="1800" b="1"/>
            </a:lvl4pPr>
            <a:lvl5pPr marL="0" indent="0">
              <a:buFontTx/>
              <a:buNone/>
              <a:defRPr sz="1800" b="1"/>
            </a:lvl5pPr>
          </a:lstStyle>
          <a:p>
            <a:pPr lvl="0"/>
            <a:r>
              <a:rPr lang="de-DE" dirty="0"/>
              <a:t>Mastertextformat bearbeiten</a:t>
            </a:r>
          </a:p>
        </p:txBody>
      </p:sp>
      <p:pic>
        <p:nvPicPr>
          <p:cNvPr id="16" name="Picture 2" descr="I:\Teams\Vorlagen\Globale Bibliothek\Sonstiges\Inhalte\Monitore\Monitore_Samsung_Smartphone.png">
            <a:extLst>
              <a:ext uri="{FF2B5EF4-FFF2-40B4-BE49-F238E27FC236}">
                <a16:creationId xmlns:a16="http://schemas.microsoft.com/office/drawing/2014/main" id="{CA52DC82-7799-471B-9682-9AC53038341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4973423" y="1701800"/>
            <a:ext cx="2243567" cy="4248150"/>
          </a:xfrm>
          <a:prstGeom prst="rect">
            <a:avLst/>
          </a:prstGeom>
          <a:noFill/>
          <a:extLst>
            <a:ext uri="{909E8E84-426E-40DD-AFC4-6F175D3DCCD1}">
              <a14:hiddenFill xmlns:a14="http://schemas.microsoft.com/office/drawing/2010/main">
                <a:solidFill>
                  <a:srgbClr val="FFFFFF"/>
                </a:solidFill>
              </a14:hiddenFill>
            </a:ext>
          </a:extLst>
        </p:spPr>
      </p:pic>
      <p:sp>
        <p:nvSpPr>
          <p:cNvPr id="20" name="Bildplatzhalter 8">
            <a:extLst>
              <a:ext uri="{FF2B5EF4-FFF2-40B4-BE49-F238E27FC236}">
                <a16:creationId xmlns:a16="http://schemas.microsoft.com/office/drawing/2014/main" id="{E110C881-68EA-4863-88D6-1A3991532E3C}"/>
              </a:ext>
            </a:extLst>
          </p:cNvPr>
          <p:cNvSpPr>
            <a:spLocks noGrp="1"/>
          </p:cNvSpPr>
          <p:nvPr>
            <p:ph type="pic" sz="quarter" idx="17"/>
          </p:nvPr>
        </p:nvSpPr>
        <p:spPr>
          <a:xfrm>
            <a:off x="5090184" y="2039548"/>
            <a:ext cx="2027238" cy="3589200"/>
          </a:xfrm>
          <a:pattFill prst="ltUpDiag">
            <a:fgClr>
              <a:schemeClr val="accent1"/>
            </a:fgClr>
            <a:bgClr>
              <a:schemeClr val="bg1"/>
            </a:bgClr>
          </a:pattFill>
        </p:spPr>
        <p:txBody>
          <a:bodyPr bIns="648000" anchor="ctr" anchorCtr="0"/>
          <a:lstStyle>
            <a:lvl1pPr algn="ctr">
              <a:defRPr sz="1200"/>
            </a:lvl1pPr>
          </a:lstStyle>
          <a:p>
            <a:endParaRPr lang="de-DE"/>
          </a:p>
        </p:txBody>
      </p:sp>
      <p:pic>
        <p:nvPicPr>
          <p:cNvPr id="15" name="Grafik 8">
            <a:extLst>
              <a:ext uri="{FF2B5EF4-FFF2-40B4-BE49-F238E27FC236}">
                <a16:creationId xmlns:a16="http://schemas.microsoft.com/office/drawing/2014/main" id="{D1B5E144-178B-4121-AD14-4BE461F14A83}"/>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4327557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out picture">
    <p:spTree>
      <p:nvGrpSpPr>
        <p:cNvPr id="1" name=""/>
        <p:cNvGrpSpPr/>
        <p:nvPr/>
      </p:nvGrpSpPr>
      <p:grpSpPr>
        <a:xfrm>
          <a:off x="0" y="0"/>
          <a:ext cx="0" cy="0"/>
          <a:chOff x="0" y="0"/>
          <a:chExt cx="0" cy="0"/>
        </a:xfrm>
      </p:grpSpPr>
      <p:sp>
        <p:nvSpPr>
          <p:cNvPr id="10" name="Freihandform: Form 9">
            <a:extLst>
              <a:ext uri="{FF2B5EF4-FFF2-40B4-BE49-F238E27FC236}">
                <a16:creationId xmlns:a16="http://schemas.microsoft.com/office/drawing/2014/main" id="{EFA2FEA4-0A89-4AB0-9AD2-66DDA27F402E}"/>
              </a:ext>
            </a:extLst>
          </p:cNvPr>
          <p:cNvSpPr/>
          <p:nvPr userDrawn="1"/>
        </p:nvSpPr>
        <p:spPr>
          <a:xfrm>
            <a:off x="0" y="0"/>
            <a:ext cx="12190413" cy="5662104"/>
          </a:xfrm>
          <a:custGeom>
            <a:avLst/>
            <a:gdLst>
              <a:gd name="connsiteX0" fmla="*/ 0 w 12190413"/>
              <a:gd name="connsiteY0" fmla="*/ 0 h 5662104"/>
              <a:gd name="connsiteX1" fmla="*/ 12190413 w 12190413"/>
              <a:gd name="connsiteY1" fmla="*/ 0 h 5662104"/>
              <a:gd name="connsiteX2" fmla="*/ 12190413 w 12190413"/>
              <a:gd name="connsiteY2" fmla="*/ 2255518 h 5662104"/>
              <a:gd name="connsiteX3" fmla="*/ 12190413 w 12190413"/>
              <a:gd name="connsiteY3" fmla="*/ 3501804 h 5662104"/>
              <a:gd name="connsiteX4" fmla="*/ 12190413 w 12190413"/>
              <a:gd name="connsiteY4" fmla="*/ 3818748 h 5662104"/>
              <a:gd name="connsiteX5" fmla="*/ 12190412 w 12190413"/>
              <a:gd name="connsiteY5" fmla="*/ 5381978 h 5662104"/>
              <a:gd name="connsiteX6" fmla="*/ 12188206 w 12190413"/>
              <a:gd name="connsiteY6" fmla="*/ 5381464 h 5662104"/>
              <a:gd name="connsiteX7" fmla="*/ 12188206 w 12190413"/>
              <a:gd name="connsiteY7" fmla="*/ 5374839 h 5662104"/>
              <a:gd name="connsiteX8" fmla="*/ 12032390 w 12190413"/>
              <a:gd name="connsiteY8" fmla="*/ 5345161 h 5662104"/>
              <a:gd name="connsiteX9" fmla="*/ 11853287 w 12190413"/>
              <a:gd name="connsiteY9" fmla="*/ 5303433 h 5662104"/>
              <a:gd name="connsiteX10" fmla="*/ 9474399 w 12190413"/>
              <a:gd name="connsiteY10" fmla="*/ 5070435 h 5662104"/>
              <a:gd name="connsiteX11" fmla="*/ 9363219 w 12190413"/>
              <a:gd name="connsiteY11" fmla="*/ 5071476 h 5662104"/>
              <a:gd name="connsiteX12" fmla="*/ 9336724 w 12190413"/>
              <a:gd name="connsiteY12" fmla="*/ 5071008 h 5662104"/>
              <a:gd name="connsiteX13" fmla="*/ 9141154 w 12190413"/>
              <a:gd name="connsiteY13" fmla="*/ 5071008 h 5662104"/>
              <a:gd name="connsiteX14" fmla="*/ 8943837 w 12190413"/>
              <a:gd name="connsiteY14" fmla="*/ 5071007 h 5662104"/>
              <a:gd name="connsiteX15" fmla="*/ 8746521 w 12190413"/>
              <a:gd name="connsiteY15" fmla="*/ 5074500 h 5662104"/>
              <a:gd name="connsiteX16" fmla="*/ 8552697 w 12190413"/>
              <a:gd name="connsiteY16" fmla="*/ 5079739 h 5662104"/>
              <a:gd name="connsiteX17" fmla="*/ 8357128 w 12190413"/>
              <a:gd name="connsiteY17" fmla="*/ 5090215 h 5662104"/>
              <a:gd name="connsiteX18" fmla="*/ 8163303 w 12190413"/>
              <a:gd name="connsiteY18" fmla="*/ 5102438 h 5662104"/>
              <a:gd name="connsiteX19" fmla="*/ 7972972 w 12190413"/>
              <a:gd name="connsiteY19" fmla="*/ 5114662 h 5662104"/>
              <a:gd name="connsiteX20" fmla="*/ 7779149 w 12190413"/>
              <a:gd name="connsiteY20" fmla="*/ 5130376 h 5662104"/>
              <a:gd name="connsiteX21" fmla="*/ 7587072 w 12190413"/>
              <a:gd name="connsiteY21" fmla="*/ 5149584 h 5662104"/>
              <a:gd name="connsiteX22" fmla="*/ 7396738 w 12190413"/>
              <a:gd name="connsiteY22" fmla="*/ 5172284 h 5662104"/>
              <a:gd name="connsiteX23" fmla="*/ 7209903 w 12190413"/>
              <a:gd name="connsiteY23" fmla="*/ 5194984 h 5662104"/>
              <a:gd name="connsiteX24" fmla="*/ 7019571 w 12190413"/>
              <a:gd name="connsiteY24" fmla="*/ 5219431 h 5662104"/>
              <a:gd name="connsiteX25" fmla="*/ 6853019 w 12190413"/>
              <a:gd name="connsiteY25" fmla="*/ 5245892 h 5662104"/>
              <a:gd name="connsiteX26" fmla="*/ 6718666 w 12190413"/>
              <a:gd name="connsiteY26" fmla="*/ 5263138 h 5662104"/>
              <a:gd name="connsiteX27" fmla="*/ 6545441 w 12190413"/>
              <a:gd name="connsiteY27" fmla="*/ 5292335 h 5662104"/>
              <a:gd name="connsiteX28" fmla="*/ 6460798 w 12190413"/>
              <a:gd name="connsiteY28" fmla="*/ 5304993 h 5662104"/>
              <a:gd name="connsiteX29" fmla="*/ 6387367 w 12190413"/>
              <a:gd name="connsiteY29" fmla="*/ 5318980 h 5662104"/>
              <a:gd name="connsiteX30" fmla="*/ 6041160 w 12190413"/>
              <a:gd name="connsiteY30" fmla="*/ 5377334 h 5662104"/>
              <a:gd name="connsiteX31" fmla="*/ 5887321 w 12190413"/>
              <a:gd name="connsiteY31" fmla="*/ 5409645 h 5662104"/>
              <a:gd name="connsiteX32" fmla="*/ 5857713 w 12190413"/>
              <a:gd name="connsiteY32" fmla="*/ 5414631 h 5662104"/>
              <a:gd name="connsiteX33" fmla="*/ 1438219 w 12190413"/>
              <a:gd name="connsiteY33" fmla="*/ 5598060 h 5662104"/>
              <a:gd name="connsiteX34" fmla="*/ 1112913 w 12190413"/>
              <a:gd name="connsiteY34" fmla="*/ 5561533 h 5662104"/>
              <a:gd name="connsiteX35" fmla="*/ 1063194 w 12190413"/>
              <a:gd name="connsiteY35" fmla="*/ 5555146 h 5662104"/>
              <a:gd name="connsiteX36" fmla="*/ 750855 w 12190413"/>
              <a:gd name="connsiteY36" fmla="*/ 5510173 h 5662104"/>
              <a:gd name="connsiteX37" fmla="*/ 268553 w 12190413"/>
              <a:gd name="connsiteY37" fmla="*/ 5419676 h 5662104"/>
              <a:gd name="connsiteX38" fmla="*/ 1 w 12190413"/>
              <a:gd name="connsiteY38" fmla="*/ 5353216 h 5662104"/>
              <a:gd name="connsiteX39" fmla="*/ 0 w 12190413"/>
              <a:gd name="connsiteY39" fmla="*/ 5353194 h 5662104"/>
              <a:gd name="connsiteX40" fmla="*/ 0 w 12190413"/>
              <a:gd name="connsiteY40" fmla="*/ 3501804 h 5662104"/>
              <a:gd name="connsiteX41" fmla="*/ 0 w 12190413"/>
              <a:gd name="connsiteY41" fmla="*/ 2255518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0413" h="5662104">
                <a:moveTo>
                  <a:pt x="0" y="0"/>
                </a:moveTo>
                <a:lnTo>
                  <a:pt x="12190413" y="0"/>
                </a:lnTo>
                <a:lnTo>
                  <a:pt x="12190413" y="2255518"/>
                </a:lnTo>
                <a:lnTo>
                  <a:pt x="12190413" y="3501804"/>
                </a:lnTo>
                <a:lnTo>
                  <a:pt x="12190413" y="3818748"/>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1" y="5353216"/>
                </a:lnTo>
                <a:lnTo>
                  <a:pt x="0" y="5353194"/>
                </a:lnTo>
                <a:lnTo>
                  <a:pt x="0" y="3501804"/>
                </a:lnTo>
                <a:lnTo>
                  <a:pt x="0" y="225551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Untertitel 2"/>
          <p:cNvSpPr>
            <a:spLocks noGrp="1"/>
          </p:cNvSpPr>
          <p:nvPr>
            <p:ph type="subTitle" idx="1" hasCustomPrompt="1"/>
          </p:nvPr>
        </p:nvSpPr>
        <p:spPr bwMode="gray">
          <a:xfrm>
            <a:off x="550436" y="1701554"/>
            <a:ext cx="6624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a:t>
            </a:r>
            <a:r>
              <a:rPr lang="en-US" dirty="0" err="1"/>
              <a:t>Subheadline</a:t>
            </a:r>
            <a:r>
              <a:rPr lang="en-US" dirty="0"/>
              <a:t>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2" name="Titel 1"/>
          <p:cNvSpPr>
            <a:spLocks noGrp="1"/>
          </p:cNvSpPr>
          <p:nvPr>
            <p:ph type="ctrTitle" hasCustomPrompt="1"/>
          </p:nvPr>
        </p:nvSpPr>
        <p:spPr bwMode="gray">
          <a:xfrm>
            <a:off x="550436" y="477384"/>
            <a:ext cx="6624493" cy="1222829"/>
          </a:xfrm>
        </p:spPr>
        <p:txBody>
          <a:bodyPr/>
          <a:lstStyle>
            <a:lvl1pPr>
              <a:defRPr sz="3200">
                <a:solidFill>
                  <a:schemeClr val="bg1"/>
                </a:solidFill>
              </a:defRPr>
            </a:lvl1pPr>
          </a:lstStyle>
          <a:p>
            <a:r>
              <a:rPr lang="en-US" dirty="0"/>
              <a:t>Here is a very long Headline 32pt</a:t>
            </a:r>
          </a:p>
        </p:txBody>
      </p:sp>
    </p:spTree>
    <p:extLst>
      <p:ext uri="{BB962C8B-B14F-4D97-AF65-F5344CB8AC3E}">
        <p14:creationId xmlns:p14="http://schemas.microsoft.com/office/powerpoint/2010/main" val="18196175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rgbClr val="0071B9"/>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5" y="477384"/>
            <a:ext cx="6624000" cy="1440000"/>
          </a:xfrm>
        </p:spPr>
        <p:txBody>
          <a:bodyPr/>
          <a:lstStyle>
            <a:lvl1pPr>
              <a:defRPr sz="3200" baseline="0">
                <a:solidFill>
                  <a:schemeClr val="bg1"/>
                </a:solidFill>
              </a:defRPr>
            </a:lvl1pPr>
          </a:lstStyle>
          <a:p>
            <a:r>
              <a:rPr lang="en-US" dirty="0"/>
              <a:t>Thank you for</a:t>
            </a:r>
            <a:br>
              <a:rPr lang="en-US" dirty="0"/>
            </a:br>
            <a:r>
              <a:rPr lang="en-US" dirty="0"/>
              <a:t>your attention 32pt</a:t>
            </a:r>
          </a:p>
        </p:txBody>
      </p:sp>
      <p:sp>
        <p:nvSpPr>
          <p:cNvPr id="3" name="Untertitel 2"/>
          <p:cNvSpPr>
            <a:spLocks noGrp="1"/>
          </p:cNvSpPr>
          <p:nvPr>
            <p:ph type="subTitle" idx="1" hasCustomPrompt="1"/>
          </p:nvPr>
        </p:nvSpPr>
        <p:spPr bwMode="gray">
          <a:xfrm>
            <a:off x="550435" y="1989744"/>
            <a:ext cx="6624000" cy="1080000"/>
          </a:xfrm>
        </p:spPr>
        <p:txBody>
          <a:bodyPr/>
          <a:lstStyle>
            <a:lvl1pPr marL="0" indent="0" algn="l">
              <a:spcAft>
                <a:spcPts val="0"/>
              </a:spcAft>
              <a:buFont typeface="Arial" panose="020B0604020202020204" pitchFamily="34" charset="0"/>
              <a:buNone/>
              <a:defRPr sz="2000" cap="none" baseline="0">
                <a:solidFill>
                  <a:schemeClr val="bg1"/>
                </a:solidFill>
              </a:defRPr>
            </a:lvl1pPr>
            <a:lvl2pPr marL="0" indent="0" algn="l">
              <a:spcAft>
                <a:spcPts val="0"/>
              </a:spcAft>
              <a:buFont typeface="Arial" panose="020B0604020202020204" pitchFamily="34" charset="0"/>
              <a:buNone/>
              <a:defRPr sz="2000">
                <a:solidFill>
                  <a:schemeClr val="bg1"/>
                </a:solidFill>
              </a:defRPr>
            </a:lvl2pPr>
            <a:lvl3pPr marL="0" indent="0" algn="l">
              <a:spcAft>
                <a:spcPts val="0"/>
              </a:spcAft>
              <a:buFont typeface="Arial" panose="020B0604020202020204" pitchFamily="34" charset="0"/>
              <a:buNone/>
              <a:defRPr sz="2000">
                <a:solidFill>
                  <a:schemeClr val="bg1"/>
                </a:solidFill>
              </a:defRPr>
            </a:lvl3pPr>
            <a:lvl4pPr marL="0" indent="0" algn="l">
              <a:spcAft>
                <a:spcPts val="0"/>
              </a:spcAft>
              <a:buFont typeface="Arial" panose="020B0604020202020204" pitchFamily="34" charset="0"/>
              <a:buNone/>
              <a:defRPr sz="2000">
                <a:solidFill>
                  <a:schemeClr val="bg1"/>
                </a:solidFill>
              </a:defRPr>
            </a:lvl4pPr>
            <a:lvl5pPr marL="0" indent="0" algn="l">
              <a:spcAft>
                <a:spcPts val="0"/>
              </a:spcAft>
              <a:buFont typeface="Arial" panose="020B0604020202020204" pitchFamily="34" charset="0"/>
              <a:buNone/>
              <a:defRPr sz="2000">
                <a:solidFill>
                  <a:schemeClr val="bg1"/>
                </a:solidFill>
              </a:defRPr>
            </a:lvl5pPr>
            <a:lvl6pPr marL="0" indent="0" algn="l">
              <a:spcAft>
                <a:spcPts val="0"/>
              </a:spcAft>
              <a:buFont typeface="Arial" panose="020B0604020202020204" pitchFamily="34" charset="0"/>
              <a:buNone/>
              <a:defRPr sz="2000">
                <a:solidFill>
                  <a:schemeClr val="bg1"/>
                </a:solidFill>
              </a:defRPr>
            </a:lvl6pPr>
            <a:lvl7pPr marL="0" indent="0" algn="l">
              <a:spcAft>
                <a:spcPts val="0"/>
              </a:spcAft>
              <a:buFont typeface="Arial" panose="020B0604020202020204" pitchFamily="34" charset="0"/>
              <a:buNone/>
              <a:defRPr sz="2000">
                <a:solidFill>
                  <a:schemeClr val="bg1"/>
                </a:solidFill>
              </a:defRPr>
            </a:lvl7pPr>
            <a:lvl8pPr marL="0" indent="0" algn="l">
              <a:spcAft>
                <a:spcPts val="0"/>
              </a:spcAft>
              <a:buFont typeface="Arial" panose="020B0604020202020204" pitchFamily="34" charset="0"/>
              <a:buNone/>
              <a:defRPr sz="2000">
                <a:solidFill>
                  <a:schemeClr val="bg1"/>
                </a:solidFill>
              </a:defRPr>
            </a:lvl8pPr>
            <a:lvl9pPr marL="0" indent="0" algn="l">
              <a:spcAft>
                <a:spcPts val="0"/>
              </a:spcAft>
              <a:buFont typeface="Arial" panose="020B0604020202020204" pitchFamily="34" charset="0"/>
              <a:buNone/>
              <a:defRPr sz="2000">
                <a:solidFill>
                  <a:schemeClr val="bg1"/>
                </a:solidFill>
              </a:defRPr>
            </a:lvl9pPr>
          </a:lstStyle>
          <a:p>
            <a:pPr lvl="0"/>
            <a:r>
              <a:rPr lang="en-US" dirty="0"/>
              <a:t>Here is a </a:t>
            </a:r>
            <a:r>
              <a:rPr lang="en-US" dirty="0" err="1"/>
              <a:t>Subheadline</a:t>
            </a:r>
            <a:r>
              <a:rPr lang="en-US" dirty="0"/>
              <a:t> 20pt</a:t>
            </a:r>
          </a:p>
        </p:txBody>
      </p:sp>
      <p:sp>
        <p:nvSpPr>
          <p:cNvPr id="14" name="Textplatzhalter 13"/>
          <p:cNvSpPr>
            <a:spLocks noGrp="1"/>
          </p:cNvSpPr>
          <p:nvPr>
            <p:ph type="body" sz="quarter" idx="10" hasCustomPrompt="1"/>
          </p:nvPr>
        </p:nvSpPr>
        <p:spPr bwMode="gray">
          <a:xfrm>
            <a:off x="550435" y="3141894"/>
            <a:ext cx="6624000" cy="1008000"/>
          </a:xfrm>
        </p:spPr>
        <p:txBody>
          <a:bodyPr/>
          <a:lstStyle>
            <a:lvl1pPr marL="0" inden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436" y="4725938"/>
            <a:ext cx="6624000" cy="1008000"/>
          </a:xfrm>
        </p:spPr>
        <p:txBody>
          <a:bodyPr/>
          <a:lstStyle>
            <a:lvl1pPr marL="0" indent="0" algn="l">
              <a:spcAft>
                <a:spcPts val="0"/>
              </a:spcAft>
              <a:buFont typeface="Arial" panose="020B0604020202020204" pitchFamily="34" charset="0"/>
              <a:buNone/>
              <a:defRPr sz="1400" cap="none" baseline="0">
                <a:solidFill>
                  <a:schemeClr val="bg1"/>
                </a:solidFill>
              </a:defRPr>
            </a:lvl1pPr>
            <a:lvl2pPr marL="0" indent="0" algn="l">
              <a:spcAft>
                <a:spcPts val="0"/>
              </a:spcAft>
              <a:buFont typeface="Arial" panose="020B0604020202020204" pitchFamily="34" charset="0"/>
              <a:buNone/>
              <a:defRPr sz="1400">
                <a:solidFill>
                  <a:schemeClr val="bg1"/>
                </a:solidFill>
              </a:defRPr>
            </a:lvl2pPr>
            <a:lvl3pPr marL="0" indent="0" algn="l">
              <a:spcAft>
                <a:spcPts val="0"/>
              </a:spcAft>
              <a:buFont typeface="Arial" panose="020B0604020202020204" pitchFamily="34" charset="0"/>
              <a:buNone/>
              <a:defRPr sz="1400">
                <a:solidFill>
                  <a:schemeClr val="bg1"/>
                </a:solidFill>
              </a:defRPr>
            </a:lvl3pPr>
            <a:lvl4pPr marL="0" indent="0" algn="l">
              <a:spcAft>
                <a:spcPts val="0"/>
              </a:spcAft>
              <a:buFont typeface="Arial" panose="020B0604020202020204" pitchFamily="34" charset="0"/>
              <a:buNone/>
              <a:defRPr sz="1400">
                <a:solidFill>
                  <a:schemeClr val="bg1"/>
                </a:solidFill>
              </a:defRPr>
            </a:lvl4pPr>
            <a:lvl5pPr marL="0" indent="0" algn="l">
              <a:spcAft>
                <a:spcPts val="0"/>
              </a:spcAft>
              <a:buFont typeface="Arial" panose="020B0604020202020204" pitchFamily="34" charset="0"/>
              <a:buNone/>
              <a:defRPr sz="1400">
                <a:solidFill>
                  <a:schemeClr val="bg1"/>
                </a:solidFill>
              </a:defRPr>
            </a:lvl5pPr>
            <a:lvl6pPr marL="0" indent="0" algn="l">
              <a:spcAft>
                <a:spcPts val="0"/>
              </a:spcAft>
              <a:buNone/>
              <a:defRPr sz="1400">
                <a:solidFill>
                  <a:schemeClr val="bg1"/>
                </a:solidFill>
              </a:defRPr>
            </a:lvl6pPr>
            <a:lvl7pPr marL="0" indent="0" algn="l">
              <a:spcAft>
                <a:spcPts val="0"/>
              </a:spcAft>
              <a:buNone/>
              <a:defRPr sz="1400">
                <a:solidFill>
                  <a:schemeClr val="bg1"/>
                </a:solidFill>
              </a:defRPr>
            </a:lvl7pPr>
            <a:lvl8pPr marL="0" indent="0" algn="l">
              <a:spcAft>
                <a:spcPts val="0"/>
              </a:spcAft>
              <a:buNone/>
              <a:defRPr sz="1400">
                <a:solidFill>
                  <a:schemeClr val="bg1"/>
                </a:solidFill>
              </a:defRPr>
            </a:lvl8pPr>
            <a:lvl9pPr marL="0" indent="0" algn="l">
              <a:spcAft>
                <a:spcPts val="0"/>
              </a:spcAft>
              <a:buNone/>
              <a:defRPr sz="1400">
                <a:solidFill>
                  <a:schemeClr val="bg1"/>
                </a:solidFill>
              </a:defRPr>
            </a:lvl9pPr>
          </a:lstStyle>
          <a:p>
            <a:pPr lvl="0"/>
            <a:r>
              <a:rPr lang="en-US" dirty="0"/>
              <a:t>www.tuv.com</a:t>
            </a:r>
          </a:p>
        </p:txBody>
      </p:sp>
      <p:sp>
        <p:nvSpPr>
          <p:cNvPr id="12" name="Rectangle 5">
            <a:extLst>
              <a:ext uri="{FF2B5EF4-FFF2-40B4-BE49-F238E27FC236}">
                <a16:creationId xmlns:a16="http://schemas.microsoft.com/office/drawing/2014/main" id="{2B460911-9C75-49AA-ABC9-2D92B48329FD}"/>
              </a:ext>
            </a:extLst>
          </p:cNvPr>
          <p:cNvSpPr>
            <a:spLocks noChangeArrowheads="1"/>
          </p:cNvSpPr>
          <p:nvPr userDrawn="1"/>
        </p:nvSpPr>
        <p:spPr bwMode="auto">
          <a:xfrm>
            <a:off x="550863" y="5840628"/>
            <a:ext cx="6624493" cy="789871"/>
          </a:xfrm>
          <a:prstGeom prst="rect">
            <a:avLst/>
          </a:prstGeom>
          <a:noFill/>
          <a:ln w="3175" algn="ctr">
            <a:noFill/>
            <a:miter lim="800000"/>
            <a:headEnd/>
            <a:tailEnd/>
          </a:ln>
        </p:spPr>
        <p:txBody>
          <a:bodyPr lIns="0" tIns="0" rIns="0" bIns="0" anchor="b"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buNone/>
            </a:pPr>
            <a:r>
              <a:rPr lang="en-US" sz="800" dirty="0">
                <a:solidFill>
                  <a:schemeClr val="lt1"/>
                </a:solidFill>
              </a:rPr>
              <a:t>LEGAL DISCLAIMER</a:t>
            </a:r>
          </a:p>
          <a:p>
            <a:pPr marL="0" indent="0">
              <a:buNone/>
            </a:pPr>
            <a:r>
              <a:rPr lang="en-US" sz="800" dirty="0">
                <a:solidFill>
                  <a:schemeClr val="lt1"/>
                </a:solidFill>
              </a:rPr>
              <a:t>This document remains the property of TÜV Rheinland. It is supplied in confidence solely for information purposes for the recipient. Neither this </a:t>
            </a:r>
            <a:br>
              <a:rPr lang="en-US" sz="800" dirty="0">
                <a:solidFill>
                  <a:schemeClr val="lt1"/>
                </a:solidFill>
              </a:rPr>
            </a:br>
            <a:r>
              <a:rPr lang="en-US" sz="800" dirty="0">
                <a:solidFill>
                  <a:schemeClr val="lt1"/>
                </a:solidFill>
              </a:rPr>
              <a:t>document nor any information or data contained therein may be used for any other purposes, or duplicated or disclosed in whole or in part, to any </a:t>
            </a:r>
            <a:br>
              <a:rPr lang="en-US" sz="800" dirty="0">
                <a:solidFill>
                  <a:schemeClr val="lt1"/>
                </a:solidFill>
              </a:rPr>
            </a:br>
            <a:r>
              <a:rPr lang="en-US" sz="800" dirty="0">
                <a:solidFill>
                  <a:schemeClr val="lt1"/>
                </a:solidFill>
              </a:rPr>
              <a:t>third party, without the prior written authorization by TÜV Rheinland. This document is not complete without a verbal explanation (presentation) </a:t>
            </a:r>
            <a:br>
              <a:rPr lang="en-US" sz="800" dirty="0">
                <a:solidFill>
                  <a:schemeClr val="lt1"/>
                </a:solidFill>
              </a:rPr>
            </a:br>
            <a:r>
              <a:rPr lang="en-US" sz="800" dirty="0">
                <a:solidFill>
                  <a:schemeClr val="lt1"/>
                </a:solidFill>
              </a:rPr>
              <a:t>of the content. </a:t>
            </a:r>
          </a:p>
          <a:p>
            <a:r>
              <a:rPr lang="en-US" sz="800" dirty="0">
                <a:solidFill>
                  <a:schemeClr val="lt1"/>
                </a:solidFill>
              </a:rPr>
              <a:t>TÜV Rheinland AG</a:t>
            </a:r>
          </a:p>
        </p:txBody>
      </p:sp>
      <p:pic>
        <p:nvPicPr>
          <p:cNvPr id="9" name="Grafik 8">
            <a:extLst>
              <a:ext uri="{FF2B5EF4-FFF2-40B4-BE49-F238E27FC236}">
                <a16:creationId xmlns:a16="http://schemas.microsoft.com/office/drawing/2014/main" id="{D1B5E144-178B-4121-AD14-4BE461F14A83}"/>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186393610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white">
    <p:bg>
      <p:bgPr>
        <a:solidFill>
          <a:schemeClr val="bg1"/>
        </a:solidFill>
        <a:effectLst/>
      </p:bgPr>
    </p:bg>
    <p:spTree>
      <p:nvGrpSpPr>
        <p:cNvPr id="1" name=""/>
        <p:cNvGrpSpPr/>
        <p:nvPr/>
      </p:nvGrpSpPr>
      <p:grpSpPr>
        <a:xfrm>
          <a:off x="0" y="0"/>
          <a:ext cx="0" cy="0"/>
          <a:chOff x="0" y="0"/>
          <a:chExt cx="0" cy="0"/>
        </a:xfrm>
      </p:grpSpPr>
      <p:sp>
        <p:nvSpPr>
          <p:cNvPr id="7" name="Freihandform 15">
            <a:extLst>
              <a:ext uri="{FF2B5EF4-FFF2-40B4-BE49-F238E27FC236}">
                <a16:creationId xmlns:a16="http://schemas.microsoft.com/office/drawing/2014/main" id="{6CF90710-5F00-4402-AB92-162AB58A4A50}"/>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p:cNvSpPr>
            <a:spLocks noGrp="1"/>
          </p:cNvSpPr>
          <p:nvPr>
            <p:ph type="ctrTitle" hasCustomPrompt="1"/>
          </p:nvPr>
        </p:nvSpPr>
        <p:spPr bwMode="gray">
          <a:xfrm>
            <a:off x="550436" y="477384"/>
            <a:ext cx="6624000" cy="1440000"/>
          </a:xfrm>
        </p:spPr>
        <p:txBody>
          <a:bodyPr/>
          <a:lstStyle>
            <a:lvl1pPr>
              <a:defRPr sz="3200" baseline="0">
                <a:solidFill>
                  <a:schemeClr val="accent1"/>
                </a:solidFill>
              </a:defRPr>
            </a:lvl1pPr>
          </a:lstStyle>
          <a:p>
            <a:r>
              <a:rPr lang="en-US" dirty="0"/>
              <a:t>Thank you for</a:t>
            </a:r>
            <a:br>
              <a:rPr lang="en-US" dirty="0"/>
            </a:br>
            <a:r>
              <a:rPr lang="en-US" dirty="0"/>
              <a:t>your attention 32pt</a:t>
            </a:r>
          </a:p>
        </p:txBody>
      </p:sp>
      <p:sp>
        <p:nvSpPr>
          <p:cNvPr id="3" name="Untertitel 2"/>
          <p:cNvSpPr>
            <a:spLocks noGrp="1"/>
          </p:cNvSpPr>
          <p:nvPr>
            <p:ph type="subTitle" idx="1" hasCustomPrompt="1"/>
          </p:nvPr>
        </p:nvSpPr>
        <p:spPr bwMode="gray">
          <a:xfrm>
            <a:off x="550436" y="1989744"/>
            <a:ext cx="6624000" cy="1080000"/>
          </a:xfrm>
        </p:spPr>
        <p:txBody>
          <a:bodyPr/>
          <a:lstStyle>
            <a:lvl1pPr marL="0" indent="0" algn="l">
              <a:spcAft>
                <a:spcPts val="0"/>
              </a:spcAft>
              <a:buFont typeface="Arial" panose="020B0604020202020204" pitchFamily="34" charset="0"/>
              <a:buNone/>
              <a:defRPr sz="2000" cap="none" baseline="0">
                <a:solidFill>
                  <a:schemeClr val="accent1"/>
                </a:solidFill>
              </a:defRPr>
            </a:lvl1pPr>
            <a:lvl2pPr marL="0" indent="0" algn="l">
              <a:spcAft>
                <a:spcPts val="0"/>
              </a:spcAft>
              <a:buFont typeface="Arial" panose="020B0604020202020204" pitchFamily="34" charset="0"/>
              <a:buNone/>
              <a:defRPr sz="2000">
                <a:solidFill>
                  <a:schemeClr val="accent1"/>
                </a:solidFill>
              </a:defRPr>
            </a:lvl2pPr>
            <a:lvl3pPr marL="0" indent="0" algn="l">
              <a:spcAft>
                <a:spcPts val="0"/>
              </a:spcAft>
              <a:buFont typeface="Arial" panose="020B0604020202020204" pitchFamily="34" charset="0"/>
              <a:buNone/>
              <a:defRPr sz="2000">
                <a:solidFill>
                  <a:schemeClr val="accent1"/>
                </a:solidFill>
              </a:defRPr>
            </a:lvl3pPr>
            <a:lvl4pPr marL="0" indent="0" algn="l">
              <a:spcAft>
                <a:spcPts val="0"/>
              </a:spcAft>
              <a:buFont typeface="Arial" panose="020B0604020202020204" pitchFamily="34" charset="0"/>
              <a:buNone/>
              <a:defRPr sz="2000">
                <a:solidFill>
                  <a:schemeClr val="accent1"/>
                </a:solidFill>
              </a:defRPr>
            </a:lvl4pPr>
            <a:lvl5pPr marL="0" indent="0" algn="l">
              <a:spcAft>
                <a:spcPts val="0"/>
              </a:spcAft>
              <a:buFont typeface="Arial" panose="020B0604020202020204" pitchFamily="34" charset="0"/>
              <a:buNone/>
              <a:defRPr sz="2000">
                <a:solidFill>
                  <a:schemeClr val="accent1"/>
                </a:solidFill>
              </a:defRPr>
            </a:lvl5pPr>
            <a:lvl6pPr marL="0" indent="0" algn="l">
              <a:spcAft>
                <a:spcPts val="0"/>
              </a:spcAft>
              <a:buFont typeface="Arial" panose="020B0604020202020204" pitchFamily="34" charset="0"/>
              <a:buNone/>
              <a:defRPr sz="2000">
                <a:solidFill>
                  <a:schemeClr val="accent1"/>
                </a:solidFill>
              </a:defRPr>
            </a:lvl6pPr>
            <a:lvl7pPr marL="0" indent="0" algn="l">
              <a:spcAft>
                <a:spcPts val="0"/>
              </a:spcAft>
              <a:buFont typeface="Arial" panose="020B0604020202020204" pitchFamily="34" charset="0"/>
              <a:buNone/>
              <a:defRPr sz="2000">
                <a:solidFill>
                  <a:schemeClr val="tx2"/>
                </a:solidFill>
              </a:defRPr>
            </a:lvl7pPr>
            <a:lvl8pPr marL="0" indent="0" algn="l">
              <a:spcAft>
                <a:spcPts val="0"/>
              </a:spcAft>
              <a:buFont typeface="Arial" panose="020B0604020202020204" pitchFamily="34" charset="0"/>
              <a:buNone/>
              <a:defRPr sz="2000">
                <a:solidFill>
                  <a:schemeClr val="tx2"/>
                </a:solidFill>
              </a:defRPr>
            </a:lvl8pPr>
            <a:lvl9pPr marL="0" indent="0" algn="l">
              <a:spcAft>
                <a:spcPts val="0"/>
              </a:spcAft>
              <a:buFont typeface="Arial" panose="020B0604020202020204" pitchFamily="34" charset="0"/>
              <a:buNone/>
              <a:defRPr sz="2000">
                <a:solidFill>
                  <a:schemeClr val="tx2"/>
                </a:solidFill>
              </a:defRPr>
            </a:lvl9pPr>
          </a:lstStyle>
          <a:p>
            <a:pPr lvl="0"/>
            <a:r>
              <a:rPr lang="en-US" dirty="0"/>
              <a:t>Here is a </a:t>
            </a:r>
            <a:r>
              <a:rPr lang="en-US" dirty="0" err="1"/>
              <a:t>Subheadline</a:t>
            </a:r>
            <a:r>
              <a:rPr lang="en-US" dirty="0"/>
              <a:t>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spcAft>
                <a:spcPts val="600"/>
              </a:spcAft>
              <a:buFont typeface="Arial" panose="020B0604020202020204" pitchFamily="34" charset="0"/>
              <a:buNone/>
              <a:defRPr sz="1400" b="1" cap="none" baseline="0">
                <a:solidFill>
                  <a:schemeClr val="tx1"/>
                </a:solidFill>
              </a:defRPr>
            </a:lvl1pPr>
            <a:lvl2pPr marL="0" indent="0">
              <a:spcAft>
                <a:spcPts val="600"/>
              </a:spcAft>
              <a:buFont typeface="Arial" panose="020B0604020202020204" pitchFamily="34" charset="0"/>
              <a:buNone/>
              <a:defRPr sz="1400" b="1">
                <a:solidFill>
                  <a:schemeClr val="tx1"/>
                </a:solidFill>
              </a:defRPr>
            </a:lvl2pPr>
            <a:lvl3pPr marL="0" indent="0">
              <a:spcAft>
                <a:spcPts val="600"/>
              </a:spcAft>
              <a:buFont typeface="Arial" panose="020B0604020202020204" pitchFamily="34" charset="0"/>
              <a:buNone/>
              <a:defRPr sz="1400" b="1">
                <a:solidFill>
                  <a:schemeClr val="tx1"/>
                </a:solidFill>
              </a:defRPr>
            </a:lvl3pPr>
            <a:lvl4pPr marL="0" indent="0">
              <a:spcAft>
                <a:spcPts val="600"/>
              </a:spcAft>
              <a:buFont typeface="Arial" panose="020B0604020202020204" pitchFamily="34" charset="0"/>
              <a:buNone/>
              <a:defRPr sz="1400" b="1">
                <a:solidFill>
                  <a:schemeClr val="tx1"/>
                </a:solidFill>
              </a:defRPr>
            </a:lvl4pPr>
            <a:lvl5pPr marL="0" indent="0">
              <a:spcAft>
                <a:spcPts val="600"/>
              </a:spcAft>
              <a:buFont typeface="Arial" panose="020B0604020202020204" pitchFamily="34" charset="0"/>
              <a:buNone/>
              <a:defRPr sz="1400" b="1">
                <a:solidFill>
                  <a:schemeClr val="tx1"/>
                </a:solidFill>
              </a:defRPr>
            </a:lvl5pPr>
            <a:lvl6pPr marL="0" indent="0">
              <a:spcAft>
                <a:spcPts val="600"/>
              </a:spcAft>
              <a:buNone/>
              <a:defRPr sz="1400" b="1">
                <a:solidFill>
                  <a:schemeClr val="tx1"/>
                </a:solidFill>
              </a:defRPr>
            </a:lvl6pPr>
            <a:lvl7pPr marL="0" indent="0">
              <a:spcAft>
                <a:spcPts val="600"/>
              </a:spcAft>
              <a:buNone/>
              <a:defRPr sz="1400" b="1">
                <a:solidFill>
                  <a:schemeClr val="tx1"/>
                </a:solidFill>
              </a:defRPr>
            </a:lvl7pPr>
            <a:lvl8pPr marL="0" indent="0">
              <a:spcAft>
                <a:spcPts val="600"/>
              </a:spcAft>
              <a:buNone/>
              <a:defRPr sz="1400" b="1">
                <a:solidFill>
                  <a:schemeClr val="tx1"/>
                </a:solidFill>
              </a:defRPr>
            </a:lvl8pPr>
            <a:lvl9pPr marL="0" indent="0">
              <a:spcAft>
                <a:spcPts val="600"/>
              </a:spcAft>
              <a:buNone/>
              <a:defRPr sz="1400" b="1">
                <a:solidFill>
                  <a:schemeClr val="tx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436" y="4725938"/>
            <a:ext cx="6624000" cy="1056462"/>
          </a:xfrm>
        </p:spPr>
        <p:txBody>
          <a:bodyPr/>
          <a:lstStyle>
            <a:lvl1pPr marL="0" indent="0">
              <a:buFont typeface="Arial" panose="020B0604020202020204" pitchFamily="34" charset="0"/>
              <a:buNone/>
              <a:defRPr sz="1400" cap="none" baseline="0">
                <a:solidFill>
                  <a:schemeClr val="tx1"/>
                </a:solidFill>
              </a:defRPr>
            </a:lvl1pPr>
            <a:lvl2pPr marL="0" indent="0">
              <a:buFont typeface="Arial" panose="020B0604020202020204" pitchFamily="34" charset="0"/>
              <a:buNone/>
              <a:defRPr sz="1400"/>
            </a:lvl2pPr>
            <a:lvl3pPr marL="0" indent="0">
              <a:buFont typeface="Arial" panose="020B0604020202020204" pitchFamily="34" charset="0"/>
              <a:buNone/>
              <a:defRPr sz="1400"/>
            </a:lvl3pPr>
            <a:lvl4pPr marL="0" indent="0">
              <a:buFont typeface="Arial" panose="020B0604020202020204" pitchFamily="34" charset="0"/>
              <a:buNone/>
              <a:defRPr sz="1400"/>
            </a:lvl4pPr>
            <a:lvl5pPr marL="0" indent="0">
              <a:buFont typeface="Arial" panose="020B0604020202020204" pitchFamily="34" charse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en-US" dirty="0"/>
              <a:t>www.tuv.com</a:t>
            </a:r>
          </a:p>
        </p:txBody>
      </p:sp>
      <p:sp>
        <p:nvSpPr>
          <p:cNvPr id="9" name="Rectangle 5">
            <a:extLst>
              <a:ext uri="{FF2B5EF4-FFF2-40B4-BE49-F238E27FC236}">
                <a16:creationId xmlns:a16="http://schemas.microsoft.com/office/drawing/2014/main" id="{BA199C2E-BE57-4B83-9238-7C4B35C40E75}"/>
              </a:ext>
            </a:extLst>
          </p:cNvPr>
          <p:cNvSpPr>
            <a:spLocks noChangeArrowheads="1"/>
          </p:cNvSpPr>
          <p:nvPr userDrawn="1"/>
        </p:nvSpPr>
        <p:spPr bwMode="auto">
          <a:xfrm>
            <a:off x="550863" y="5840628"/>
            <a:ext cx="6624493" cy="789871"/>
          </a:xfrm>
          <a:prstGeom prst="rect">
            <a:avLst/>
          </a:prstGeom>
          <a:noFill/>
          <a:ln w="3175" algn="ctr">
            <a:noFill/>
            <a:miter lim="800000"/>
            <a:headEnd/>
            <a:tailEnd/>
          </a:ln>
        </p:spPr>
        <p:txBody>
          <a:bodyPr lIns="0" tIns="0" rIns="0" bIns="0" anchor="b"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buNone/>
            </a:pPr>
            <a:r>
              <a:rPr lang="en-US" sz="800" dirty="0">
                <a:solidFill>
                  <a:schemeClr val="tx1"/>
                </a:solidFill>
              </a:rPr>
              <a:t>LEGAL DISCLAIMER</a:t>
            </a:r>
          </a:p>
          <a:p>
            <a:pPr marL="0" indent="0">
              <a:buNone/>
            </a:pPr>
            <a:r>
              <a:rPr lang="en-US" sz="800" dirty="0">
                <a:solidFill>
                  <a:schemeClr val="tx1"/>
                </a:solidFill>
              </a:rPr>
              <a:t>This document remains the property of TÜV Rheinland. It is supplied in confidence solely for information purposes for the recipient. Neither this document nor any information or data contained therein may be used for any other purposes, or duplicated or disclosed in whole or in part, to any third party, without the prior written authorization by TÜV Rheinland. This document is not complete without a verbal explanation (presentation) </a:t>
            </a:r>
            <a:br>
              <a:rPr lang="en-US" sz="800" dirty="0">
                <a:solidFill>
                  <a:schemeClr val="tx1"/>
                </a:solidFill>
              </a:rPr>
            </a:br>
            <a:r>
              <a:rPr lang="en-US" sz="800" dirty="0">
                <a:solidFill>
                  <a:schemeClr val="tx1"/>
                </a:solidFill>
              </a:rPr>
              <a:t>of the content. </a:t>
            </a:r>
          </a:p>
          <a:p>
            <a:r>
              <a:rPr lang="en-US" sz="800" dirty="0">
                <a:solidFill>
                  <a:schemeClr val="tx1"/>
                </a:solidFill>
              </a:rPr>
              <a:t>TÜV Rheinland AG</a:t>
            </a:r>
          </a:p>
        </p:txBody>
      </p:sp>
    </p:spTree>
    <p:extLst>
      <p:ext uri="{BB962C8B-B14F-4D97-AF65-F5344CB8AC3E}">
        <p14:creationId xmlns:p14="http://schemas.microsoft.com/office/powerpoint/2010/main" val="16581998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8" name="Titel 1"/>
          <p:cNvSpPr>
            <a:spLocks noGrp="1"/>
          </p:cNvSpPr>
          <p:nvPr>
            <p:ph type="ctrTitle" hasCustomPrompt="1"/>
          </p:nvPr>
        </p:nvSpPr>
        <p:spPr bwMode="gray">
          <a:xfrm>
            <a:off x="550436" y="477384"/>
            <a:ext cx="6624000" cy="1222829"/>
          </a:xfrm>
        </p:spPr>
        <p:txBody>
          <a:bodyPr/>
          <a:lstStyle>
            <a:lvl1pPr>
              <a:defRPr sz="3200" baseline="0">
                <a:solidFill>
                  <a:schemeClr val="accent1"/>
                </a:solidFill>
              </a:defRPr>
            </a:lvl1pPr>
          </a:lstStyle>
          <a:p>
            <a:r>
              <a:rPr lang="en-US" dirty="0"/>
              <a:t>Title »white« for internal Presentation 32pt</a:t>
            </a:r>
          </a:p>
        </p:txBody>
      </p:sp>
      <p:sp>
        <p:nvSpPr>
          <p:cNvPr id="9" name="Untertitel 2"/>
          <p:cNvSpPr>
            <a:spLocks noGrp="1"/>
          </p:cNvSpPr>
          <p:nvPr>
            <p:ph type="subTitle" idx="1" hasCustomPrompt="1"/>
          </p:nvPr>
        </p:nvSpPr>
        <p:spPr bwMode="gray">
          <a:xfrm>
            <a:off x="550436" y="1701554"/>
            <a:ext cx="6624000" cy="1080000"/>
          </a:xfrm>
        </p:spPr>
        <p:txBody>
          <a:bodyPr/>
          <a:lstStyle>
            <a:lvl1pPr marL="0" indent="0" algn="l">
              <a:buFont typeface="Arial" panose="020B0604020202020204" pitchFamily="34" charset="0"/>
              <a:buNone/>
              <a:defRPr sz="2000" cap="none" baseline="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None/>
              <a:defRPr sz="2000">
                <a:solidFill>
                  <a:schemeClr val="tx1"/>
                </a:solidFill>
              </a:defRPr>
            </a:lvl3pPr>
            <a:lvl4pPr marL="0" indent="0" algn="l">
              <a:buFont typeface="Arial" panose="020B0604020202020204" pitchFamily="34" charset="0"/>
              <a:buNone/>
              <a:defRPr sz="2000">
                <a:solidFill>
                  <a:schemeClr val="tx1"/>
                </a:solidFill>
              </a:defRPr>
            </a:lvl4pPr>
            <a:lvl5pPr marL="0" indent="0" algn="l">
              <a:buFont typeface="Arial" panose="020B0604020202020204" pitchFamily="34" charset="0"/>
              <a:buNone/>
              <a:defRPr sz="2000">
                <a:solidFill>
                  <a:schemeClr val="tx1"/>
                </a:solidFill>
              </a:defRPr>
            </a:lvl5pPr>
            <a:lvl6pPr marL="0" indent="0" algn="l">
              <a:buFont typeface="Arial" panose="020B0604020202020204" pitchFamily="34" charset="0"/>
              <a:buNone/>
              <a:defRPr sz="2000">
                <a:solidFill>
                  <a:schemeClr val="tx1"/>
                </a:solidFill>
              </a:defRPr>
            </a:lvl6pPr>
            <a:lvl7pPr marL="0" indent="0" algn="l">
              <a:buFont typeface="Arial" panose="020B0604020202020204" pitchFamily="34" charset="0"/>
              <a:buNone/>
              <a:defRPr sz="2000">
                <a:solidFill>
                  <a:schemeClr val="tx1"/>
                </a:solidFill>
              </a:defRPr>
            </a:lvl7pPr>
            <a:lvl8pPr marL="0" indent="0" algn="l">
              <a:buFont typeface="Arial" panose="020B0604020202020204" pitchFamily="34" charset="0"/>
              <a:buNone/>
              <a:defRPr sz="2000">
                <a:solidFill>
                  <a:schemeClr val="tx1"/>
                </a:solidFill>
              </a:defRPr>
            </a:lvl8pPr>
            <a:lvl9pPr marL="0" indent="0" algn="l">
              <a:buFont typeface="Arial" panose="020B0604020202020204" pitchFamily="34" charset="0"/>
              <a:buNone/>
              <a:defRPr sz="2000">
                <a:solidFill>
                  <a:schemeClr val="tx1"/>
                </a:solidFill>
              </a:defRPr>
            </a:lvl9pPr>
          </a:lstStyle>
          <a:p>
            <a:pPr lvl="0"/>
            <a:r>
              <a:rPr lang="en-US" dirty="0"/>
              <a:t>Here is a </a:t>
            </a:r>
            <a:r>
              <a:rPr lang="en-US" dirty="0" err="1"/>
              <a:t>Subheadline</a:t>
            </a:r>
            <a:r>
              <a:rPr lang="en-US" dirty="0"/>
              <a:t> 20pt</a:t>
            </a:r>
          </a:p>
        </p:txBody>
      </p:sp>
      <p:sp>
        <p:nvSpPr>
          <p:cNvPr id="10"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tx1"/>
                </a:solidFill>
              </a:defRPr>
            </a:lvl1pPr>
            <a:lvl2pPr marL="0" indent="0">
              <a:buFont typeface="Arial" panose="020B0604020202020204" pitchFamily="34" charset="0"/>
              <a:buNone/>
              <a:defRPr sz="1400" b="1"/>
            </a:lvl2pPr>
            <a:lvl3pPr marL="0" indent="0">
              <a:buFont typeface="Arial" panose="020B0604020202020204" pitchFamily="34" charset="0"/>
              <a:buNone/>
              <a:defRPr sz="1400" b="1"/>
            </a:lvl3pPr>
            <a:lvl4pPr marL="0" indent="0">
              <a:buFont typeface="Arial" panose="020B0604020202020204" pitchFamily="34" charset="0"/>
              <a:buNone/>
              <a:defRPr sz="1400" b="1"/>
            </a:lvl4pPr>
            <a:lvl5pPr marL="0" indent="0">
              <a:buFont typeface="Arial" panose="020B0604020202020204" pitchFamily="34" charset="0"/>
              <a:buNone/>
              <a:defRPr sz="1400" b="1"/>
            </a:lvl5pPr>
            <a:lvl6pPr marL="0" indent="0">
              <a:buNone/>
              <a:defRPr sz="1400" b="1"/>
            </a:lvl6pPr>
            <a:lvl7pPr marL="0" indent="0">
              <a:buNone/>
              <a:defRPr sz="1400" b="1"/>
            </a:lvl7pPr>
            <a:lvl8pPr marL="0" indent="0">
              <a:buNone/>
              <a:defRPr sz="1400" b="1"/>
            </a:lvl8pPr>
            <a:lvl9pPr marL="0" indent="0">
              <a:buNone/>
              <a:defRPr sz="1400" b="1"/>
            </a:lvl9pPr>
          </a:lstStyle>
          <a:p>
            <a:pPr lvl="0"/>
            <a:r>
              <a:rPr lang="en-US" dirty="0"/>
              <a:t>Max </a:t>
            </a:r>
            <a:r>
              <a:rPr lang="en-US" dirty="0" err="1"/>
              <a:t>Mustermann</a:t>
            </a:r>
            <a:r>
              <a:rPr lang="en-US" dirty="0"/>
              <a:t> – Head of Corporate</a:t>
            </a:r>
            <a:br>
              <a:rPr lang="en-US" dirty="0"/>
            </a:br>
            <a:r>
              <a:rPr lang="en-US" dirty="0"/>
              <a:t>Place, Date</a:t>
            </a:r>
          </a:p>
        </p:txBody>
      </p:sp>
      <p:sp>
        <p:nvSpPr>
          <p:cNvPr id="6" name="Freihandform 15">
            <a:extLst>
              <a:ext uri="{FF2B5EF4-FFF2-40B4-BE49-F238E27FC236}">
                <a16:creationId xmlns:a16="http://schemas.microsoft.com/office/drawing/2014/main" id="{5E8DD634-E9D3-48FF-AA22-490C4EE4475E}"/>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804564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with pictur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287063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6" name="Picture Placeholder 45"/>
          <p:cNvSpPr>
            <a:spLocks noGrp="1"/>
          </p:cNvSpPr>
          <p:nvPr>
            <p:ph type="pic" sz="quarter" idx="15"/>
          </p:nvPr>
        </p:nvSpPr>
        <p:spPr bwMode="gray">
          <a:xfrm>
            <a:off x="-2899" y="-1"/>
            <a:ext cx="12193313" cy="3406587"/>
          </a:xfrm>
          <a:custGeom>
            <a:avLst/>
            <a:gdLst>
              <a:gd name="connsiteX0" fmla="*/ 0 w 12190414"/>
              <a:gd name="connsiteY0" fmla="*/ 0 h 4091720"/>
              <a:gd name="connsiteX1" fmla="*/ 12190414 w 12190414"/>
              <a:gd name="connsiteY1" fmla="*/ 0 h 4091720"/>
              <a:gd name="connsiteX2" fmla="*/ 12190414 w 12190414"/>
              <a:gd name="connsiteY2" fmla="*/ 4091720 h 4091720"/>
              <a:gd name="connsiteX3" fmla="*/ 12190411 w 12190414"/>
              <a:gd name="connsiteY3" fmla="*/ 4091720 h 4091720"/>
              <a:gd name="connsiteX4" fmla="*/ 12190412 w 12190414"/>
              <a:gd name="connsiteY4" fmla="*/ 3126461 h 4091720"/>
              <a:gd name="connsiteX5" fmla="*/ 12188206 w 12190414"/>
              <a:gd name="connsiteY5" fmla="*/ 3125947 h 4091720"/>
              <a:gd name="connsiteX6" fmla="*/ 12188206 w 12190414"/>
              <a:gd name="connsiteY6" fmla="*/ 3119322 h 4091720"/>
              <a:gd name="connsiteX7" fmla="*/ 12032390 w 12190414"/>
              <a:gd name="connsiteY7" fmla="*/ 3089644 h 4091720"/>
              <a:gd name="connsiteX8" fmla="*/ 11853287 w 12190414"/>
              <a:gd name="connsiteY8" fmla="*/ 3047916 h 4091720"/>
              <a:gd name="connsiteX9" fmla="*/ 9474399 w 12190414"/>
              <a:gd name="connsiteY9" fmla="*/ 2814918 h 4091720"/>
              <a:gd name="connsiteX10" fmla="*/ 9363219 w 12190414"/>
              <a:gd name="connsiteY10" fmla="*/ 2815959 h 4091720"/>
              <a:gd name="connsiteX11" fmla="*/ 9336724 w 12190414"/>
              <a:gd name="connsiteY11" fmla="*/ 2815491 h 4091720"/>
              <a:gd name="connsiteX12" fmla="*/ 9141154 w 12190414"/>
              <a:gd name="connsiteY12" fmla="*/ 2815491 h 4091720"/>
              <a:gd name="connsiteX13" fmla="*/ 8943837 w 12190414"/>
              <a:gd name="connsiteY13" fmla="*/ 2815490 h 4091720"/>
              <a:gd name="connsiteX14" fmla="*/ 8746521 w 12190414"/>
              <a:gd name="connsiteY14" fmla="*/ 2818983 h 4091720"/>
              <a:gd name="connsiteX15" fmla="*/ 8552697 w 12190414"/>
              <a:gd name="connsiteY15" fmla="*/ 2824222 h 4091720"/>
              <a:gd name="connsiteX16" fmla="*/ 8357128 w 12190414"/>
              <a:gd name="connsiteY16" fmla="*/ 2834698 h 4091720"/>
              <a:gd name="connsiteX17" fmla="*/ 8163303 w 12190414"/>
              <a:gd name="connsiteY17" fmla="*/ 2846921 h 4091720"/>
              <a:gd name="connsiteX18" fmla="*/ 7972972 w 12190414"/>
              <a:gd name="connsiteY18" fmla="*/ 2859145 h 4091720"/>
              <a:gd name="connsiteX19" fmla="*/ 7779149 w 12190414"/>
              <a:gd name="connsiteY19" fmla="*/ 2874859 h 4091720"/>
              <a:gd name="connsiteX20" fmla="*/ 7587072 w 12190414"/>
              <a:gd name="connsiteY20" fmla="*/ 2894067 h 4091720"/>
              <a:gd name="connsiteX21" fmla="*/ 7396738 w 12190414"/>
              <a:gd name="connsiteY21" fmla="*/ 2916767 h 4091720"/>
              <a:gd name="connsiteX22" fmla="*/ 7209903 w 12190414"/>
              <a:gd name="connsiteY22" fmla="*/ 2939467 h 4091720"/>
              <a:gd name="connsiteX23" fmla="*/ 7019571 w 12190414"/>
              <a:gd name="connsiteY23" fmla="*/ 2963914 h 4091720"/>
              <a:gd name="connsiteX24" fmla="*/ 6853019 w 12190414"/>
              <a:gd name="connsiteY24" fmla="*/ 2990375 h 4091720"/>
              <a:gd name="connsiteX25" fmla="*/ 6718666 w 12190414"/>
              <a:gd name="connsiteY25" fmla="*/ 3007621 h 4091720"/>
              <a:gd name="connsiteX26" fmla="*/ 6545441 w 12190414"/>
              <a:gd name="connsiteY26" fmla="*/ 3036818 h 4091720"/>
              <a:gd name="connsiteX27" fmla="*/ 6460798 w 12190414"/>
              <a:gd name="connsiteY27" fmla="*/ 3049476 h 4091720"/>
              <a:gd name="connsiteX28" fmla="*/ 6387367 w 12190414"/>
              <a:gd name="connsiteY28" fmla="*/ 3063463 h 4091720"/>
              <a:gd name="connsiteX29" fmla="*/ 6041160 w 12190414"/>
              <a:gd name="connsiteY29" fmla="*/ 3121817 h 4091720"/>
              <a:gd name="connsiteX30" fmla="*/ 5887321 w 12190414"/>
              <a:gd name="connsiteY30" fmla="*/ 3154128 h 4091720"/>
              <a:gd name="connsiteX31" fmla="*/ 5857713 w 12190414"/>
              <a:gd name="connsiteY31" fmla="*/ 3159114 h 4091720"/>
              <a:gd name="connsiteX32" fmla="*/ 1438219 w 12190414"/>
              <a:gd name="connsiteY32" fmla="*/ 3342543 h 4091720"/>
              <a:gd name="connsiteX33" fmla="*/ 1112913 w 12190414"/>
              <a:gd name="connsiteY33" fmla="*/ 3306016 h 4091720"/>
              <a:gd name="connsiteX34" fmla="*/ 1063194 w 12190414"/>
              <a:gd name="connsiteY34" fmla="*/ 3299629 h 4091720"/>
              <a:gd name="connsiteX35" fmla="*/ 750855 w 12190414"/>
              <a:gd name="connsiteY35" fmla="*/ 3254656 h 4091720"/>
              <a:gd name="connsiteX36" fmla="*/ 268553 w 12190414"/>
              <a:gd name="connsiteY36" fmla="*/ 3164159 h 4091720"/>
              <a:gd name="connsiteX37" fmla="*/ 1 w 12190414"/>
              <a:gd name="connsiteY37" fmla="*/ 3097699 h 4091720"/>
              <a:gd name="connsiteX38" fmla="*/ 0 w 12190414"/>
              <a:gd name="connsiteY38" fmla="*/ 4091720 h 4091720"/>
              <a:gd name="connsiteX39" fmla="*/ 0 w 12190414"/>
              <a:gd name="connsiteY39" fmla="*/ 4091720 h 4091720"/>
              <a:gd name="connsiteX0" fmla="*/ 0 w 12190414"/>
              <a:gd name="connsiteY0" fmla="*/ 0 h 4091720"/>
              <a:gd name="connsiteX1" fmla="*/ 12190414 w 12190414"/>
              <a:gd name="connsiteY1" fmla="*/ 0 h 4091720"/>
              <a:gd name="connsiteX2" fmla="*/ 12190414 w 12190414"/>
              <a:gd name="connsiteY2" fmla="*/ 4091720 h 4091720"/>
              <a:gd name="connsiteX3" fmla="*/ 12190412 w 12190414"/>
              <a:gd name="connsiteY3" fmla="*/ 3126461 h 4091720"/>
              <a:gd name="connsiteX4" fmla="*/ 12188206 w 12190414"/>
              <a:gd name="connsiteY4" fmla="*/ 3125947 h 4091720"/>
              <a:gd name="connsiteX5" fmla="*/ 12188206 w 12190414"/>
              <a:gd name="connsiteY5" fmla="*/ 3119322 h 4091720"/>
              <a:gd name="connsiteX6" fmla="*/ 12032390 w 12190414"/>
              <a:gd name="connsiteY6" fmla="*/ 3089644 h 4091720"/>
              <a:gd name="connsiteX7" fmla="*/ 11853287 w 12190414"/>
              <a:gd name="connsiteY7" fmla="*/ 3047916 h 4091720"/>
              <a:gd name="connsiteX8" fmla="*/ 9474399 w 12190414"/>
              <a:gd name="connsiteY8" fmla="*/ 2814918 h 4091720"/>
              <a:gd name="connsiteX9" fmla="*/ 9363219 w 12190414"/>
              <a:gd name="connsiteY9" fmla="*/ 2815959 h 4091720"/>
              <a:gd name="connsiteX10" fmla="*/ 9336724 w 12190414"/>
              <a:gd name="connsiteY10" fmla="*/ 2815491 h 4091720"/>
              <a:gd name="connsiteX11" fmla="*/ 9141154 w 12190414"/>
              <a:gd name="connsiteY11" fmla="*/ 2815491 h 4091720"/>
              <a:gd name="connsiteX12" fmla="*/ 8943837 w 12190414"/>
              <a:gd name="connsiteY12" fmla="*/ 2815490 h 4091720"/>
              <a:gd name="connsiteX13" fmla="*/ 8746521 w 12190414"/>
              <a:gd name="connsiteY13" fmla="*/ 2818983 h 4091720"/>
              <a:gd name="connsiteX14" fmla="*/ 8552697 w 12190414"/>
              <a:gd name="connsiteY14" fmla="*/ 2824222 h 4091720"/>
              <a:gd name="connsiteX15" fmla="*/ 8357128 w 12190414"/>
              <a:gd name="connsiteY15" fmla="*/ 2834698 h 4091720"/>
              <a:gd name="connsiteX16" fmla="*/ 8163303 w 12190414"/>
              <a:gd name="connsiteY16" fmla="*/ 2846921 h 4091720"/>
              <a:gd name="connsiteX17" fmla="*/ 7972972 w 12190414"/>
              <a:gd name="connsiteY17" fmla="*/ 2859145 h 4091720"/>
              <a:gd name="connsiteX18" fmla="*/ 7779149 w 12190414"/>
              <a:gd name="connsiteY18" fmla="*/ 2874859 h 4091720"/>
              <a:gd name="connsiteX19" fmla="*/ 7587072 w 12190414"/>
              <a:gd name="connsiteY19" fmla="*/ 2894067 h 4091720"/>
              <a:gd name="connsiteX20" fmla="*/ 7396738 w 12190414"/>
              <a:gd name="connsiteY20" fmla="*/ 2916767 h 4091720"/>
              <a:gd name="connsiteX21" fmla="*/ 7209903 w 12190414"/>
              <a:gd name="connsiteY21" fmla="*/ 2939467 h 4091720"/>
              <a:gd name="connsiteX22" fmla="*/ 7019571 w 12190414"/>
              <a:gd name="connsiteY22" fmla="*/ 2963914 h 4091720"/>
              <a:gd name="connsiteX23" fmla="*/ 6853019 w 12190414"/>
              <a:gd name="connsiteY23" fmla="*/ 2990375 h 4091720"/>
              <a:gd name="connsiteX24" fmla="*/ 6718666 w 12190414"/>
              <a:gd name="connsiteY24" fmla="*/ 3007621 h 4091720"/>
              <a:gd name="connsiteX25" fmla="*/ 6545441 w 12190414"/>
              <a:gd name="connsiteY25" fmla="*/ 3036818 h 4091720"/>
              <a:gd name="connsiteX26" fmla="*/ 6460798 w 12190414"/>
              <a:gd name="connsiteY26" fmla="*/ 3049476 h 4091720"/>
              <a:gd name="connsiteX27" fmla="*/ 6387367 w 12190414"/>
              <a:gd name="connsiteY27" fmla="*/ 3063463 h 4091720"/>
              <a:gd name="connsiteX28" fmla="*/ 6041160 w 12190414"/>
              <a:gd name="connsiteY28" fmla="*/ 3121817 h 4091720"/>
              <a:gd name="connsiteX29" fmla="*/ 5887321 w 12190414"/>
              <a:gd name="connsiteY29" fmla="*/ 3154128 h 4091720"/>
              <a:gd name="connsiteX30" fmla="*/ 5857713 w 12190414"/>
              <a:gd name="connsiteY30" fmla="*/ 3159114 h 4091720"/>
              <a:gd name="connsiteX31" fmla="*/ 1438219 w 12190414"/>
              <a:gd name="connsiteY31" fmla="*/ 3342543 h 4091720"/>
              <a:gd name="connsiteX32" fmla="*/ 1112913 w 12190414"/>
              <a:gd name="connsiteY32" fmla="*/ 3306016 h 4091720"/>
              <a:gd name="connsiteX33" fmla="*/ 1063194 w 12190414"/>
              <a:gd name="connsiteY33" fmla="*/ 3299629 h 4091720"/>
              <a:gd name="connsiteX34" fmla="*/ 750855 w 12190414"/>
              <a:gd name="connsiteY34" fmla="*/ 3254656 h 4091720"/>
              <a:gd name="connsiteX35" fmla="*/ 268553 w 12190414"/>
              <a:gd name="connsiteY35" fmla="*/ 3164159 h 4091720"/>
              <a:gd name="connsiteX36" fmla="*/ 1 w 12190414"/>
              <a:gd name="connsiteY36" fmla="*/ 3097699 h 4091720"/>
              <a:gd name="connsiteX37" fmla="*/ 0 w 12190414"/>
              <a:gd name="connsiteY37" fmla="*/ 4091720 h 4091720"/>
              <a:gd name="connsiteX38" fmla="*/ 0 w 12190414"/>
              <a:gd name="connsiteY38" fmla="*/ 4091720 h 4091720"/>
              <a:gd name="connsiteX39" fmla="*/ 0 w 12190414"/>
              <a:gd name="connsiteY39"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4091720 h 4091720"/>
              <a:gd name="connsiteX38" fmla="*/ 0 w 12190414"/>
              <a:gd name="connsiteY38"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0 h 4091720"/>
              <a:gd name="connsiteX0" fmla="*/ 913022 w 13103436"/>
              <a:gd name="connsiteY0" fmla="*/ 0 h 3406587"/>
              <a:gd name="connsiteX1" fmla="*/ 13103436 w 13103436"/>
              <a:gd name="connsiteY1" fmla="*/ 0 h 3406587"/>
              <a:gd name="connsiteX2" fmla="*/ 13103434 w 13103436"/>
              <a:gd name="connsiteY2" fmla="*/ 3126461 h 3406587"/>
              <a:gd name="connsiteX3" fmla="*/ 13101228 w 13103436"/>
              <a:gd name="connsiteY3" fmla="*/ 3125947 h 3406587"/>
              <a:gd name="connsiteX4" fmla="*/ 13101228 w 13103436"/>
              <a:gd name="connsiteY4" fmla="*/ 3119322 h 3406587"/>
              <a:gd name="connsiteX5" fmla="*/ 12945412 w 13103436"/>
              <a:gd name="connsiteY5" fmla="*/ 3089644 h 3406587"/>
              <a:gd name="connsiteX6" fmla="*/ 12766309 w 13103436"/>
              <a:gd name="connsiteY6" fmla="*/ 3047916 h 3406587"/>
              <a:gd name="connsiteX7" fmla="*/ 10387421 w 13103436"/>
              <a:gd name="connsiteY7" fmla="*/ 2814918 h 3406587"/>
              <a:gd name="connsiteX8" fmla="*/ 10276241 w 13103436"/>
              <a:gd name="connsiteY8" fmla="*/ 2815959 h 3406587"/>
              <a:gd name="connsiteX9" fmla="*/ 10249746 w 13103436"/>
              <a:gd name="connsiteY9" fmla="*/ 2815491 h 3406587"/>
              <a:gd name="connsiteX10" fmla="*/ 10054176 w 13103436"/>
              <a:gd name="connsiteY10" fmla="*/ 2815491 h 3406587"/>
              <a:gd name="connsiteX11" fmla="*/ 9856859 w 13103436"/>
              <a:gd name="connsiteY11" fmla="*/ 2815490 h 3406587"/>
              <a:gd name="connsiteX12" fmla="*/ 9659543 w 13103436"/>
              <a:gd name="connsiteY12" fmla="*/ 2818983 h 3406587"/>
              <a:gd name="connsiteX13" fmla="*/ 9465719 w 13103436"/>
              <a:gd name="connsiteY13" fmla="*/ 2824222 h 3406587"/>
              <a:gd name="connsiteX14" fmla="*/ 9270150 w 13103436"/>
              <a:gd name="connsiteY14" fmla="*/ 2834698 h 3406587"/>
              <a:gd name="connsiteX15" fmla="*/ 9076325 w 13103436"/>
              <a:gd name="connsiteY15" fmla="*/ 2846921 h 3406587"/>
              <a:gd name="connsiteX16" fmla="*/ 8885994 w 13103436"/>
              <a:gd name="connsiteY16" fmla="*/ 2859145 h 3406587"/>
              <a:gd name="connsiteX17" fmla="*/ 8692171 w 13103436"/>
              <a:gd name="connsiteY17" fmla="*/ 2874859 h 3406587"/>
              <a:gd name="connsiteX18" fmla="*/ 8500094 w 13103436"/>
              <a:gd name="connsiteY18" fmla="*/ 2894067 h 3406587"/>
              <a:gd name="connsiteX19" fmla="*/ 8309760 w 13103436"/>
              <a:gd name="connsiteY19" fmla="*/ 2916767 h 3406587"/>
              <a:gd name="connsiteX20" fmla="*/ 8122925 w 13103436"/>
              <a:gd name="connsiteY20" fmla="*/ 2939467 h 3406587"/>
              <a:gd name="connsiteX21" fmla="*/ 7932593 w 13103436"/>
              <a:gd name="connsiteY21" fmla="*/ 2963914 h 3406587"/>
              <a:gd name="connsiteX22" fmla="*/ 7766041 w 13103436"/>
              <a:gd name="connsiteY22" fmla="*/ 2990375 h 3406587"/>
              <a:gd name="connsiteX23" fmla="*/ 7631688 w 13103436"/>
              <a:gd name="connsiteY23" fmla="*/ 3007621 h 3406587"/>
              <a:gd name="connsiteX24" fmla="*/ 7458463 w 13103436"/>
              <a:gd name="connsiteY24" fmla="*/ 3036818 h 3406587"/>
              <a:gd name="connsiteX25" fmla="*/ 7373820 w 13103436"/>
              <a:gd name="connsiteY25" fmla="*/ 3049476 h 3406587"/>
              <a:gd name="connsiteX26" fmla="*/ 7300389 w 13103436"/>
              <a:gd name="connsiteY26" fmla="*/ 3063463 h 3406587"/>
              <a:gd name="connsiteX27" fmla="*/ 6954182 w 13103436"/>
              <a:gd name="connsiteY27" fmla="*/ 3121817 h 3406587"/>
              <a:gd name="connsiteX28" fmla="*/ 6800343 w 13103436"/>
              <a:gd name="connsiteY28" fmla="*/ 3154128 h 3406587"/>
              <a:gd name="connsiteX29" fmla="*/ 6770735 w 13103436"/>
              <a:gd name="connsiteY29" fmla="*/ 3159114 h 3406587"/>
              <a:gd name="connsiteX30" fmla="*/ 2351241 w 13103436"/>
              <a:gd name="connsiteY30" fmla="*/ 3342543 h 3406587"/>
              <a:gd name="connsiteX31" fmla="*/ 2025935 w 13103436"/>
              <a:gd name="connsiteY31" fmla="*/ 3306016 h 3406587"/>
              <a:gd name="connsiteX32" fmla="*/ 1976216 w 13103436"/>
              <a:gd name="connsiteY32" fmla="*/ 3299629 h 3406587"/>
              <a:gd name="connsiteX33" fmla="*/ 1663877 w 13103436"/>
              <a:gd name="connsiteY33" fmla="*/ 3254656 h 3406587"/>
              <a:gd name="connsiteX34" fmla="*/ 1181575 w 13103436"/>
              <a:gd name="connsiteY34" fmla="*/ 3164159 h 3406587"/>
              <a:gd name="connsiteX35" fmla="*/ 913023 w 13103436"/>
              <a:gd name="connsiteY35" fmla="*/ 3097699 h 3406587"/>
              <a:gd name="connsiteX36" fmla="*/ 913022 w 13103436"/>
              <a:gd name="connsiteY36" fmla="*/ 0 h 3406587"/>
              <a:gd name="connsiteX0" fmla="*/ 899291 w 13089705"/>
              <a:gd name="connsiteY0" fmla="*/ 0 h 3406587"/>
              <a:gd name="connsiteX1" fmla="*/ 13089705 w 13089705"/>
              <a:gd name="connsiteY1" fmla="*/ 0 h 3406587"/>
              <a:gd name="connsiteX2" fmla="*/ 13089703 w 13089705"/>
              <a:gd name="connsiteY2" fmla="*/ 3126461 h 3406587"/>
              <a:gd name="connsiteX3" fmla="*/ 13087497 w 13089705"/>
              <a:gd name="connsiteY3" fmla="*/ 3125947 h 3406587"/>
              <a:gd name="connsiteX4" fmla="*/ 13087497 w 13089705"/>
              <a:gd name="connsiteY4" fmla="*/ 3119322 h 3406587"/>
              <a:gd name="connsiteX5" fmla="*/ 12931681 w 13089705"/>
              <a:gd name="connsiteY5" fmla="*/ 3089644 h 3406587"/>
              <a:gd name="connsiteX6" fmla="*/ 12752578 w 13089705"/>
              <a:gd name="connsiteY6" fmla="*/ 3047916 h 3406587"/>
              <a:gd name="connsiteX7" fmla="*/ 10373690 w 13089705"/>
              <a:gd name="connsiteY7" fmla="*/ 2814918 h 3406587"/>
              <a:gd name="connsiteX8" fmla="*/ 10262510 w 13089705"/>
              <a:gd name="connsiteY8" fmla="*/ 2815959 h 3406587"/>
              <a:gd name="connsiteX9" fmla="*/ 10236015 w 13089705"/>
              <a:gd name="connsiteY9" fmla="*/ 2815491 h 3406587"/>
              <a:gd name="connsiteX10" fmla="*/ 10040445 w 13089705"/>
              <a:gd name="connsiteY10" fmla="*/ 2815491 h 3406587"/>
              <a:gd name="connsiteX11" fmla="*/ 9843128 w 13089705"/>
              <a:gd name="connsiteY11" fmla="*/ 2815490 h 3406587"/>
              <a:gd name="connsiteX12" fmla="*/ 9645812 w 13089705"/>
              <a:gd name="connsiteY12" fmla="*/ 2818983 h 3406587"/>
              <a:gd name="connsiteX13" fmla="*/ 9451988 w 13089705"/>
              <a:gd name="connsiteY13" fmla="*/ 2824222 h 3406587"/>
              <a:gd name="connsiteX14" fmla="*/ 9256419 w 13089705"/>
              <a:gd name="connsiteY14" fmla="*/ 2834698 h 3406587"/>
              <a:gd name="connsiteX15" fmla="*/ 9062594 w 13089705"/>
              <a:gd name="connsiteY15" fmla="*/ 2846921 h 3406587"/>
              <a:gd name="connsiteX16" fmla="*/ 8872263 w 13089705"/>
              <a:gd name="connsiteY16" fmla="*/ 2859145 h 3406587"/>
              <a:gd name="connsiteX17" fmla="*/ 8678440 w 13089705"/>
              <a:gd name="connsiteY17" fmla="*/ 2874859 h 3406587"/>
              <a:gd name="connsiteX18" fmla="*/ 8486363 w 13089705"/>
              <a:gd name="connsiteY18" fmla="*/ 2894067 h 3406587"/>
              <a:gd name="connsiteX19" fmla="*/ 8296029 w 13089705"/>
              <a:gd name="connsiteY19" fmla="*/ 2916767 h 3406587"/>
              <a:gd name="connsiteX20" fmla="*/ 8109194 w 13089705"/>
              <a:gd name="connsiteY20" fmla="*/ 2939467 h 3406587"/>
              <a:gd name="connsiteX21" fmla="*/ 7918862 w 13089705"/>
              <a:gd name="connsiteY21" fmla="*/ 2963914 h 3406587"/>
              <a:gd name="connsiteX22" fmla="*/ 7752310 w 13089705"/>
              <a:gd name="connsiteY22" fmla="*/ 2990375 h 3406587"/>
              <a:gd name="connsiteX23" fmla="*/ 7617957 w 13089705"/>
              <a:gd name="connsiteY23" fmla="*/ 3007621 h 3406587"/>
              <a:gd name="connsiteX24" fmla="*/ 7444732 w 13089705"/>
              <a:gd name="connsiteY24" fmla="*/ 3036818 h 3406587"/>
              <a:gd name="connsiteX25" fmla="*/ 7360089 w 13089705"/>
              <a:gd name="connsiteY25" fmla="*/ 3049476 h 3406587"/>
              <a:gd name="connsiteX26" fmla="*/ 7286658 w 13089705"/>
              <a:gd name="connsiteY26" fmla="*/ 3063463 h 3406587"/>
              <a:gd name="connsiteX27" fmla="*/ 6940451 w 13089705"/>
              <a:gd name="connsiteY27" fmla="*/ 3121817 h 3406587"/>
              <a:gd name="connsiteX28" fmla="*/ 6786612 w 13089705"/>
              <a:gd name="connsiteY28" fmla="*/ 3154128 h 3406587"/>
              <a:gd name="connsiteX29" fmla="*/ 6757004 w 13089705"/>
              <a:gd name="connsiteY29" fmla="*/ 3159114 h 3406587"/>
              <a:gd name="connsiteX30" fmla="*/ 2337510 w 13089705"/>
              <a:gd name="connsiteY30" fmla="*/ 3342543 h 3406587"/>
              <a:gd name="connsiteX31" fmla="*/ 2012204 w 13089705"/>
              <a:gd name="connsiteY31" fmla="*/ 3306016 h 3406587"/>
              <a:gd name="connsiteX32" fmla="*/ 1962485 w 13089705"/>
              <a:gd name="connsiteY32" fmla="*/ 3299629 h 3406587"/>
              <a:gd name="connsiteX33" fmla="*/ 1650146 w 13089705"/>
              <a:gd name="connsiteY33" fmla="*/ 3254656 h 3406587"/>
              <a:gd name="connsiteX34" fmla="*/ 1167844 w 13089705"/>
              <a:gd name="connsiteY34" fmla="*/ 3164159 h 3406587"/>
              <a:gd name="connsiteX35" fmla="*/ 899292 w 13089705"/>
              <a:gd name="connsiteY35" fmla="*/ 3097699 h 3406587"/>
              <a:gd name="connsiteX36" fmla="*/ 899291 w 13089705"/>
              <a:gd name="connsiteY36" fmla="*/ 0 h 3406587"/>
              <a:gd name="connsiteX0" fmla="*/ 6943 w 12197357"/>
              <a:gd name="connsiteY0" fmla="*/ 0 h 3406587"/>
              <a:gd name="connsiteX1" fmla="*/ 12197357 w 12197357"/>
              <a:gd name="connsiteY1" fmla="*/ 0 h 3406587"/>
              <a:gd name="connsiteX2" fmla="*/ 12197355 w 12197357"/>
              <a:gd name="connsiteY2" fmla="*/ 3126461 h 3406587"/>
              <a:gd name="connsiteX3" fmla="*/ 12195149 w 12197357"/>
              <a:gd name="connsiteY3" fmla="*/ 3125947 h 3406587"/>
              <a:gd name="connsiteX4" fmla="*/ 12195149 w 12197357"/>
              <a:gd name="connsiteY4" fmla="*/ 3119322 h 3406587"/>
              <a:gd name="connsiteX5" fmla="*/ 12039333 w 12197357"/>
              <a:gd name="connsiteY5" fmla="*/ 3089644 h 3406587"/>
              <a:gd name="connsiteX6" fmla="*/ 11860230 w 12197357"/>
              <a:gd name="connsiteY6" fmla="*/ 3047916 h 3406587"/>
              <a:gd name="connsiteX7" fmla="*/ 9481342 w 12197357"/>
              <a:gd name="connsiteY7" fmla="*/ 2814918 h 3406587"/>
              <a:gd name="connsiteX8" fmla="*/ 9370162 w 12197357"/>
              <a:gd name="connsiteY8" fmla="*/ 2815959 h 3406587"/>
              <a:gd name="connsiteX9" fmla="*/ 9343667 w 12197357"/>
              <a:gd name="connsiteY9" fmla="*/ 2815491 h 3406587"/>
              <a:gd name="connsiteX10" fmla="*/ 9148097 w 12197357"/>
              <a:gd name="connsiteY10" fmla="*/ 2815491 h 3406587"/>
              <a:gd name="connsiteX11" fmla="*/ 8950780 w 12197357"/>
              <a:gd name="connsiteY11" fmla="*/ 2815490 h 3406587"/>
              <a:gd name="connsiteX12" fmla="*/ 8753464 w 12197357"/>
              <a:gd name="connsiteY12" fmla="*/ 2818983 h 3406587"/>
              <a:gd name="connsiteX13" fmla="*/ 8559640 w 12197357"/>
              <a:gd name="connsiteY13" fmla="*/ 2824222 h 3406587"/>
              <a:gd name="connsiteX14" fmla="*/ 8364071 w 12197357"/>
              <a:gd name="connsiteY14" fmla="*/ 2834698 h 3406587"/>
              <a:gd name="connsiteX15" fmla="*/ 8170246 w 12197357"/>
              <a:gd name="connsiteY15" fmla="*/ 2846921 h 3406587"/>
              <a:gd name="connsiteX16" fmla="*/ 7979915 w 12197357"/>
              <a:gd name="connsiteY16" fmla="*/ 2859145 h 3406587"/>
              <a:gd name="connsiteX17" fmla="*/ 7786092 w 12197357"/>
              <a:gd name="connsiteY17" fmla="*/ 2874859 h 3406587"/>
              <a:gd name="connsiteX18" fmla="*/ 7594015 w 12197357"/>
              <a:gd name="connsiteY18" fmla="*/ 2894067 h 3406587"/>
              <a:gd name="connsiteX19" fmla="*/ 7403681 w 12197357"/>
              <a:gd name="connsiteY19" fmla="*/ 2916767 h 3406587"/>
              <a:gd name="connsiteX20" fmla="*/ 7216846 w 12197357"/>
              <a:gd name="connsiteY20" fmla="*/ 2939467 h 3406587"/>
              <a:gd name="connsiteX21" fmla="*/ 7026514 w 12197357"/>
              <a:gd name="connsiteY21" fmla="*/ 2963914 h 3406587"/>
              <a:gd name="connsiteX22" fmla="*/ 6859962 w 12197357"/>
              <a:gd name="connsiteY22" fmla="*/ 2990375 h 3406587"/>
              <a:gd name="connsiteX23" fmla="*/ 6725609 w 12197357"/>
              <a:gd name="connsiteY23" fmla="*/ 3007621 h 3406587"/>
              <a:gd name="connsiteX24" fmla="*/ 6552384 w 12197357"/>
              <a:gd name="connsiteY24" fmla="*/ 3036818 h 3406587"/>
              <a:gd name="connsiteX25" fmla="*/ 6467741 w 12197357"/>
              <a:gd name="connsiteY25" fmla="*/ 3049476 h 3406587"/>
              <a:gd name="connsiteX26" fmla="*/ 6394310 w 12197357"/>
              <a:gd name="connsiteY26" fmla="*/ 3063463 h 3406587"/>
              <a:gd name="connsiteX27" fmla="*/ 6048103 w 12197357"/>
              <a:gd name="connsiteY27" fmla="*/ 3121817 h 3406587"/>
              <a:gd name="connsiteX28" fmla="*/ 5894264 w 12197357"/>
              <a:gd name="connsiteY28" fmla="*/ 3154128 h 3406587"/>
              <a:gd name="connsiteX29" fmla="*/ 5864656 w 12197357"/>
              <a:gd name="connsiteY29" fmla="*/ 3159114 h 3406587"/>
              <a:gd name="connsiteX30" fmla="*/ 1445162 w 12197357"/>
              <a:gd name="connsiteY30" fmla="*/ 3342543 h 3406587"/>
              <a:gd name="connsiteX31" fmla="*/ 1119856 w 12197357"/>
              <a:gd name="connsiteY31" fmla="*/ 3306016 h 3406587"/>
              <a:gd name="connsiteX32" fmla="*/ 1070137 w 12197357"/>
              <a:gd name="connsiteY32" fmla="*/ 3299629 h 3406587"/>
              <a:gd name="connsiteX33" fmla="*/ 757798 w 12197357"/>
              <a:gd name="connsiteY33" fmla="*/ 3254656 h 3406587"/>
              <a:gd name="connsiteX34" fmla="*/ 275496 w 12197357"/>
              <a:gd name="connsiteY34" fmla="*/ 3164159 h 3406587"/>
              <a:gd name="connsiteX35" fmla="*/ 6944 w 12197357"/>
              <a:gd name="connsiteY35" fmla="*/ 3097699 h 3406587"/>
              <a:gd name="connsiteX36" fmla="*/ 6943 w 12197357"/>
              <a:gd name="connsiteY36" fmla="*/ 0 h 3406587"/>
              <a:gd name="connsiteX0" fmla="*/ 301 w 12190715"/>
              <a:gd name="connsiteY0" fmla="*/ 0 h 3406587"/>
              <a:gd name="connsiteX1" fmla="*/ 12190715 w 12190715"/>
              <a:gd name="connsiteY1" fmla="*/ 0 h 3406587"/>
              <a:gd name="connsiteX2" fmla="*/ 12190713 w 12190715"/>
              <a:gd name="connsiteY2" fmla="*/ 3126461 h 3406587"/>
              <a:gd name="connsiteX3" fmla="*/ 12188507 w 12190715"/>
              <a:gd name="connsiteY3" fmla="*/ 3125947 h 3406587"/>
              <a:gd name="connsiteX4" fmla="*/ 12188507 w 12190715"/>
              <a:gd name="connsiteY4" fmla="*/ 3119322 h 3406587"/>
              <a:gd name="connsiteX5" fmla="*/ 12032691 w 12190715"/>
              <a:gd name="connsiteY5" fmla="*/ 3089644 h 3406587"/>
              <a:gd name="connsiteX6" fmla="*/ 11853588 w 12190715"/>
              <a:gd name="connsiteY6" fmla="*/ 3047916 h 3406587"/>
              <a:gd name="connsiteX7" fmla="*/ 9474700 w 12190715"/>
              <a:gd name="connsiteY7" fmla="*/ 2814918 h 3406587"/>
              <a:gd name="connsiteX8" fmla="*/ 9363520 w 12190715"/>
              <a:gd name="connsiteY8" fmla="*/ 2815959 h 3406587"/>
              <a:gd name="connsiteX9" fmla="*/ 9337025 w 12190715"/>
              <a:gd name="connsiteY9" fmla="*/ 2815491 h 3406587"/>
              <a:gd name="connsiteX10" fmla="*/ 9141455 w 12190715"/>
              <a:gd name="connsiteY10" fmla="*/ 2815491 h 3406587"/>
              <a:gd name="connsiteX11" fmla="*/ 8944138 w 12190715"/>
              <a:gd name="connsiteY11" fmla="*/ 2815490 h 3406587"/>
              <a:gd name="connsiteX12" fmla="*/ 8746822 w 12190715"/>
              <a:gd name="connsiteY12" fmla="*/ 2818983 h 3406587"/>
              <a:gd name="connsiteX13" fmla="*/ 8552998 w 12190715"/>
              <a:gd name="connsiteY13" fmla="*/ 2824222 h 3406587"/>
              <a:gd name="connsiteX14" fmla="*/ 8357429 w 12190715"/>
              <a:gd name="connsiteY14" fmla="*/ 2834698 h 3406587"/>
              <a:gd name="connsiteX15" fmla="*/ 8163604 w 12190715"/>
              <a:gd name="connsiteY15" fmla="*/ 2846921 h 3406587"/>
              <a:gd name="connsiteX16" fmla="*/ 7973273 w 12190715"/>
              <a:gd name="connsiteY16" fmla="*/ 2859145 h 3406587"/>
              <a:gd name="connsiteX17" fmla="*/ 7779450 w 12190715"/>
              <a:gd name="connsiteY17" fmla="*/ 2874859 h 3406587"/>
              <a:gd name="connsiteX18" fmla="*/ 7587373 w 12190715"/>
              <a:gd name="connsiteY18" fmla="*/ 2894067 h 3406587"/>
              <a:gd name="connsiteX19" fmla="*/ 7397039 w 12190715"/>
              <a:gd name="connsiteY19" fmla="*/ 2916767 h 3406587"/>
              <a:gd name="connsiteX20" fmla="*/ 7210204 w 12190715"/>
              <a:gd name="connsiteY20" fmla="*/ 2939467 h 3406587"/>
              <a:gd name="connsiteX21" fmla="*/ 7019872 w 12190715"/>
              <a:gd name="connsiteY21" fmla="*/ 2963914 h 3406587"/>
              <a:gd name="connsiteX22" fmla="*/ 6853320 w 12190715"/>
              <a:gd name="connsiteY22" fmla="*/ 2990375 h 3406587"/>
              <a:gd name="connsiteX23" fmla="*/ 6718967 w 12190715"/>
              <a:gd name="connsiteY23" fmla="*/ 3007621 h 3406587"/>
              <a:gd name="connsiteX24" fmla="*/ 6545742 w 12190715"/>
              <a:gd name="connsiteY24" fmla="*/ 3036818 h 3406587"/>
              <a:gd name="connsiteX25" fmla="*/ 6461099 w 12190715"/>
              <a:gd name="connsiteY25" fmla="*/ 3049476 h 3406587"/>
              <a:gd name="connsiteX26" fmla="*/ 6387668 w 12190715"/>
              <a:gd name="connsiteY26" fmla="*/ 3063463 h 3406587"/>
              <a:gd name="connsiteX27" fmla="*/ 6041461 w 12190715"/>
              <a:gd name="connsiteY27" fmla="*/ 3121817 h 3406587"/>
              <a:gd name="connsiteX28" fmla="*/ 5887622 w 12190715"/>
              <a:gd name="connsiteY28" fmla="*/ 3154128 h 3406587"/>
              <a:gd name="connsiteX29" fmla="*/ 5858014 w 12190715"/>
              <a:gd name="connsiteY29" fmla="*/ 3159114 h 3406587"/>
              <a:gd name="connsiteX30" fmla="*/ 1438520 w 12190715"/>
              <a:gd name="connsiteY30" fmla="*/ 3342543 h 3406587"/>
              <a:gd name="connsiteX31" fmla="*/ 1113214 w 12190715"/>
              <a:gd name="connsiteY31" fmla="*/ 3306016 h 3406587"/>
              <a:gd name="connsiteX32" fmla="*/ 1063495 w 12190715"/>
              <a:gd name="connsiteY32" fmla="*/ 3299629 h 3406587"/>
              <a:gd name="connsiteX33" fmla="*/ 751156 w 12190715"/>
              <a:gd name="connsiteY33" fmla="*/ 3254656 h 3406587"/>
              <a:gd name="connsiteX34" fmla="*/ 268854 w 12190715"/>
              <a:gd name="connsiteY34" fmla="*/ 3164159 h 3406587"/>
              <a:gd name="connsiteX35" fmla="*/ 302 w 12190715"/>
              <a:gd name="connsiteY35" fmla="*/ 3097699 h 3406587"/>
              <a:gd name="connsiteX36" fmla="*/ 301 w 12190715"/>
              <a:gd name="connsiteY36" fmla="*/ 0 h 3406587"/>
              <a:gd name="connsiteX0" fmla="*/ 2899 w 12193313"/>
              <a:gd name="connsiteY0" fmla="*/ 0 h 3406587"/>
              <a:gd name="connsiteX1" fmla="*/ 12193313 w 12193313"/>
              <a:gd name="connsiteY1" fmla="*/ 0 h 3406587"/>
              <a:gd name="connsiteX2" fmla="*/ 12193311 w 12193313"/>
              <a:gd name="connsiteY2" fmla="*/ 3126461 h 3406587"/>
              <a:gd name="connsiteX3" fmla="*/ 12191105 w 12193313"/>
              <a:gd name="connsiteY3" fmla="*/ 3125947 h 3406587"/>
              <a:gd name="connsiteX4" fmla="*/ 12191105 w 12193313"/>
              <a:gd name="connsiteY4" fmla="*/ 3119322 h 3406587"/>
              <a:gd name="connsiteX5" fmla="*/ 12035289 w 12193313"/>
              <a:gd name="connsiteY5" fmla="*/ 3089644 h 3406587"/>
              <a:gd name="connsiteX6" fmla="*/ 11856186 w 12193313"/>
              <a:gd name="connsiteY6" fmla="*/ 3047916 h 3406587"/>
              <a:gd name="connsiteX7" fmla="*/ 9477298 w 12193313"/>
              <a:gd name="connsiteY7" fmla="*/ 2814918 h 3406587"/>
              <a:gd name="connsiteX8" fmla="*/ 9366118 w 12193313"/>
              <a:gd name="connsiteY8" fmla="*/ 2815959 h 3406587"/>
              <a:gd name="connsiteX9" fmla="*/ 9339623 w 12193313"/>
              <a:gd name="connsiteY9" fmla="*/ 2815491 h 3406587"/>
              <a:gd name="connsiteX10" fmla="*/ 9144053 w 12193313"/>
              <a:gd name="connsiteY10" fmla="*/ 2815491 h 3406587"/>
              <a:gd name="connsiteX11" fmla="*/ 8946736 w 12193313"/>
              <a:gd name="connsiteY11" fmla="*/ 2815490 h 3406587"/>
              <a:gd name="connsiteX12" fmla="*/ 8749420 w 12193313"/>
              <a:gd name="connsiteY12" fmla="*/ 2818983 h 3406587"/>
              <a:gd name="connsiteX13" fmla="*/ 8555596 w 12193313"/>
              <a:gd name="connsiteY13" fmla="*/ 2824222 h 3406587"/>
              <a:gd name="connsiteX14" fmla="*/ 8360027 w 12193313"/>
              <a:gd name="connsiteY14" fmla="*/ 2834698 h 3406587"/>
              <a:gd name="connsiteX15" fmla="*/ 8166202 w 12193313"/>
              <a:gd name="connsiteY15" fmla="*/ 2846921 h 3406587"/>
              <a:gd name="connsiteX16" fmla="*/ 7975871 w 12193313"/>
              <a:gd name="connsiteY16" fmla="*/ 2859145 h 3406587"/>
              <a:gd name="connsiteX17" fmla="*/ 7782048 w 12193313"/>
              <a:gd name="connsiteY17" fmla="*/ 2874859 h 3406587"/>
              <a:gd name="connsiteX18" fmla="*/ 7589971 w 12193313"/>
              <a:gd name="connsiteY18" fmla="*/ 2894067 h 3406587"/>
              <a:gd name="connsiteX19" fmla="*/ 7399637 w 12193313"/>
              <a:gd name="connsiteY19" fmla="*/ 2916767 h 3406587"/>
              <a:gd name="connsiteX20" fmla="*/ 7212802 w 12193313"/>
              <a:gd name="connsiteY20" fmla="*/ 2939467 h 3406587"/>
              <a:gd name="connsiteX21" fmla="*/ 7022470 w 12193313"/>
              <a:gd name="connsiteY21" fmla="*/ 2963914 h 3406587"/>
              <a:gd name="connsiteX22" fmla="*/ 6855918 w 12193313"/>
              <a:gd name="connsiteY22" fmla="*/ 2990375 h 3406587"/>
              <a:gd name="connsiteX23" fmla="*/ 6721565 w 12193313"/>
              <a:gd name="connsiteY23" fmla="*/ 3007621 h 3406587"/>
              <a:gd name="connsiteX24" fmla="*/ 6548340 w 12193313"/>
              <a:gd name="connsiteY24" fmla="*/ 3036818 h 3406587"/>
              <a:gd name="connsiteX25" fmla="*/ 6463697 w 12193313"/>
              <a:gd name="connsiteY25" fmla="*/ 3049476 h 3406587"/>
              <a:gd name="connsiteX26" fmla="*/ 6390266 w 12193313"/>
              <a:gd name="connsiteY26" fmla="*/ 3063463 h 3406587"/>
              <a:gd name="connsiteX27" fmla="*/ 6044059 w 12193313"/>
              <a:gd name="connsiteY27" fmla="*/ 3121817 h 3406587"/>
              <a:gd name="connsiteX28" fmla="*/ 5890220 w 12193313"/>
              <a:gd name="connsiteY28" fmla="*/ 3154128 h 3406587"/>
              <a:gd name="connsiteX29" fmla="*/ 5860612 w 12193313"/>
              <a:gd name="connsiteY29" fmla="*/ 3159114 h 3406587"/>
              <a:gd name="connsiteX30" fmla="*/ 1441118 w 12193313"/>
              <a:gd name="connsiteY30" fmla="*/ 3342543 h 3406587"/>
              <a:gd name="connsiteX31" fmla="*/ 1115812 w 12193313"/>
              <a:gd name="connsiteY31" fmla="*/ 3306016 h 3406587"/>
              <a:gd name="connsiteX32" fmla="*/ 1066093 w 12193313"/>
              <a:gd name="connsiteY32" fmla="*/ 3299629 h 3406587"/>
              <a:gd name="connsiteX33" fmla="*/ 753754 w 12193313"/>
              <a:gd name="connsiteY33" fmla="*/ 3254656 h 3406587"/>
              <a:gd name="connsiteX34" fmla="*/ 271452 w 12193313"/>
              <a:gd name="connsiteY34" fmla="*/ 3164159 h 3406587"/>
              <a:gd name="connsiteX35" fmla="*/ 2900 w 12193313"/>
              <a:gd name="connsiteY35" fmla="*/ 3097699 h 3406587"/>
              <a:gd name="connsiteX36" fmla="*/ 2899 w 12193313"/>
              <a:gd name="connsiteY36" fmla="*/ 0 h 34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3313" h="3406587">
                <a:moveTo>
                  <a:pt x="2899" y="0"/>
                </a:moveTo>
                <a:lnTo>
                  <a:pt x="12193313" y="0"/>
                </a:lnTo>
                <a:cubicBezTo>
                  <a:pt x="12193312" y="1042154"/>
                  <a:pt x="12193312" y="2084307"/>
                  <a:pt x="12193311" y="3126461"/>
                </a:cubicBezTo>
                <a:lnTo>
                  <a:pt x="12191105" y="3125947"/>
                </a:lnTo>
                <a:lnTo>
                  <a:pt x="12191105" y="3119322"/>
                </a:lnTo>
                <a:lnTo>
                  <a:pt x="12035289" y="3089644"/>
                </a:lnTo>
                <a:lnTo>
                  <a:pt x="11856186" y="3047916"/>
                </a:lnTo>
                <a:cubicBezTo>
                  <a:pt x="11154404" y="2905720"/>
                  <a:pt x="10348654" y="2824654"/>
                  <a:pt x="9477298" y="2814918"/>
                </a:cubicBezTo>
                <a:lnTo>
                  <a:pt x="9366118" y="2815959"/>
                </a:lnTo>
                <a:lnTo>
                  <a:pt x="9339623" y="2815491"/>
                </a:lnTo>
                <a:lnTo>
                  <a:pt x="9144053" y="2815491"/>
                </a:lnTo>
                <a:lnTo>
                  <a:pt x="8946736" y="2815490"/>
                </a:lnTo>
                <a:lnTo>
                  <a:pt x="8749420" y="2818983"/>
                </a:lnTo>
                <a:lnTo>
                  <a:pt x="8555596" y="2824222"/>
                </a:lnTo>
                <a:lnTo>
                  <a:pt x="8360027" y="2834698"/>
                </a:lnTo>
                <a:lnTo>
                  <a:pt x="8166202" y="2846921"/>
                </a:lnTo>
                <a:lnTo>
                  <a:pt x="7975871" y="2859145"/>
                </a:lnTo>
                <a:lnTo>
                  <a:pt x="7782048" y="2874859"/>
                </a:lnTo>
                <a:lnTo>
                  <a:pt x="7589971" y="2894067"/>
                </a:lnTo>
                <a:lnTo>
                  <a:pt x="7399637" y="2916767"/>
                </a:lnTo>
                <a:lnTo>
                  <a:pt x="7212802" y="2939467"/>
                </a:lnTo>
                <a:lnTo>
                  <a:pt x="7022470" y="2963914"/>
                </a:lnTo>
                <a:lnTo>
                  <a:pt x="6855918" y="2990375"/>
                </a:lnTo>
                <a:lnTo>
                  <a:pt x="6721565" y="3007621"/>
                </a:lnTo>
                <a:lnTo>
                  <a:pt x="6548340" y="3036818"/>
                </a:lnTo>
                <a:lnTo>
                  <a:pt x="6463697" y="3049476"/>
                </a:lnTo>
                <a:lnTo>
                  <a:pt x="6390266" y="3063463"/>
                </a:lnTo>
                <a:lnTo>
                  <a:pt x="6044059" y="3121817"/>
                </a:lnTo>
                <a:lnTo>
                  <a:pt x="5890220" y="3154128"/>
                </a:lnTo>
                <a:lnTo>
                  <a:pt x="5860612" y="3159114"/>
                </a:lnTo>
                <a:cubicBezTo>
                  <a:pt x="4274456" y="3407637"/>
                  <a:pt x="2744397" y="3469367"/>
                  <a:pt x="1441118" y="3342543"/>
                </a:cubicBezTo>
                <a:lnTo>
                  <a:pt x="1115812" y="3306016"/>
                </a:lnTo>
                <a:lnTo>
                  <a:pt x="1066093" y="3299629"/>
                </a:lnTo>
                <a:lnTo>
                  <a:pt x="753754" y="3254656"/>
                </a:lnTo>
                <a:cubicBezTo>
                  <a:pt x="588049" y="3228004"/>
                  <a:pt x="427136" y="3197840"/>
                  <a:pt x="271452" y="3164159"/>
                </a:cubicBezTo>
                <a:lnTo>
                  <a:pt x="2900" y="3097699"/>
                </a:lnTo>
                <a:cubicBezTo>
                  <a:pt x="-1818" y="3094475"/>
                  <a:pt x="-12" y="5108"/>
                  <a:pt x="2899" y="0"/>
                </a:cubicBezTo>
                <a:close/>
              </a:path>
            </a:pathLst>
          </a:custGeom>
          <a:pattFill prst="ltUpDiag">
            <a:fgClr>
              <a:schemeClr val="accent1"/>
            </a:fgClr>
            <a:bgClr>
              <a:schemeClr val="bg1"/>
            </a:bgClr>
          </a:pattFill>
        </p:spPr>
        <p:txBody>
          <a:bodyPr wrap="square" lIns="0" tIns="0" bIns="648000" anchor="ctr">
            <a:noAutofit/>
          </a:bodyPr>
          <a:lstStyle>
            <a:lvl1pPr marL="0" indent="0" algn="ctr">
              <a:buNone/>
              <a:defRPr/>
            </a:lvl1pPr>
            <a:lvl2pPr marL="0" indent="0" algn="ctr">
              <a:buNone/>
              <a:defRPr sz="1200" cap="none" baseline="0">
                <a:solidFill>
                  <a:schemeClr val="tx1"/>
                </a:solidFill>
              </a:defRPr>
            </a:lvl2pPr>
          </a:lstStyle>
          <a:p>
            <a:pPr lvl="1"/>
            <a:endParaRPr lang="de-DE" dirty="0"/>
          </a:p>
        </p:txBody>
      </p:sp>
      <p:sp>
        <p:nvSpPr>
          <p:cNvPr id="3" name="Untertitel 2"/>
          <p:cNvSpPr>
            <a:spLocks noGrp="1"/>
          </p:cNvSpPr>
          <p:nvPr userDrawn="1">
            <p:ph type="subTitle" idx="1" hasCustomPrompt="1"/>
          </p:nvPr>
        </p:nvSpPr>
        <p:spPr bwMode="gray">
          <a:xfrm>
            <a:off x="550436" y="4797749"/>
            <a:ext cx="11088000" cy="1152395"/>
          </a:xfrm>
        </p:spPr>
        <p:txBody>
          <a:bodyPr/>
          <a:lstStyle>
            <a:lvl1pPr marL="0" marR="0" indent="0" algn="l" defTabSz="1219170"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sz="2000" cap="none" baseline="0">
                <a:solidFill>
                  <a:schemeClr val="accent1"/>
                </a:solidFill>
              </a:defRPr>
            </a:lvl1pPr>
            <a:lvl2pPr marL="0" indent="0" algn="l">
              <a:spcAft>
                <a:spcPts val="600"/>
              </a:spcAft>
              <a:buNone/>
              <a:defRPr sz="2000">
                <a:solidFill>
                  <a:schemeClr val="accent1"/>
                </a:solidFill>
              </a:defRPr>
            </a:lvl2pPr>
            <a:lvl3pPr marL="0" indent="0" algn="l">
              <a:spcAft>
                <a:spcPts val="600"/>
              </a:spcAft>
              <a:buNone/>
              <a:defRPr sz="2000">
                <a:solidFill>
                  <a:schemeClr val="accent1"/>
                </a:solidFill>
              </a:defRPr>
            </a:lvl3pPr>
            <a:lvl4pPr marL="0" indent="0" algn="l">
              <a:spcAft>
                <a:spcPts val="600"/>
              </a:spcAft>
              <a:buNone/>
              <a:defRPr sz="2000">
                <a:solidFill>
                  <a:schemeClr val="accent1"/>
                </a:solidFill>
              </a:defRPr>
            </a:lvl4pPr>
            <a:lvl5pPr marL="0" indent="0" algn="l">
              <a:spcAft>
                <a:spcPts val="600"/>
              </a:spcAft>
              <a:buNone/>
              <a:defRPr sz="2000">
                <a:solidFill>
                  <a:schemeClr val="accent1"/>
                </a:solidFill>
              </a:defRPr>
            </a:lvl5pPr>
            <a:lvl6pPr marL="0" indent="0" algn="l">
              <a:spcAft>
                <a:spcPts val="600"/>
              </a:spcAft>
              <a:buNone/>
              <a:defRPr sz="2000">
                <a:solidFill>
                  <a:schemeClr val="accent1"/>
                </a:solidFill>
              </a:defRPr>
            </a:lvl6pPr>
            <a:lvl7pPr marL="0" indent="0" algn="l">
              <a:spcAft>
                <a:spcPts val="0"/>
              </a:spcAft>
              <a:buNone/>
              <a:defRPr sz="2000">
                <a:solidFill>
                  <a:schemeClr val="tx2"/>
                </a:solidFill>
              </a:defRPr>
            </a:lvl7pPr>
            <a:lvl8pPr marL="0" indent="0" algn="l">
              <a:spcAft>
                <a:spcPts val="0"/>
              </a:spcAft>
              <a:buNone/>
              <a:defRPr sz="2000">
                <a:solidFill>
                  <a:schemeClr val="tx2"/>
                </a:solidFill>
              </a:defRPr>
            </a:lvl8pPr>
            <a:lvl9pPr marL="0" indent="0" algn="l">
              <a:spcAft>
                <a:spcPts val="0"/>
              </a:spcAft>
              <a:buNone/>
              <a:defRPr sz="2000">
                <a:solidFill>
                  <a:schemeClr val="tx2"/>
                </a:solidFill>
              </a:defRPr>
            </a:lvl9pPr>
          </a:lstStyle>
          <a:p>
            <a:pPr lvl="0"/>
            <a:r>
              <a:rPr lang="en-US" dirty="0"/>
              <a:t>Here is a </a:t>
            </a:r>
            <a:r>
              <a:rPr lang="en-US" dirty="0" err="1"/>
              <a:t>Subheadline</a:t>
            </a:r>
            <a:r>
              <a:rPr lang="en-US" dirty="0"/>
              <a:t> 20pt</a:t>
            </a:r>
          </a:p>
        </p:txBody>
      </p:sp>
      <p:sp>
        <p:nvSpPr>
          <p:cNvPr id="7" name="Datumsplatzhalter 6"/>
          <p:cNvSpPr>
            <a:spLocks noGrp="1"/>
          </p:cNvSpPr>
          <p:nvPr userDrawn="1">
            <p:ph type="dt" sz="half" idx="11"/>
          </p:nvPr>
        </p:nvSpPr>
        <p:spPr bwMode="gray"/>
        <p:txBody>
          <a:bodyPr/>
          <a:lstStyle/>
          <a:p>
            <a:r>
              <a:rPr lang="en-US"/>
              <a:t>01/10/2019</a:t>
            </a:r>
            <a:endParaRPr lang="en-US" dirty="0"/>
          </a:p>
        </p:txBody>
      </p:sp>
      <p:sp>
        <p:nvSpPr>
          <p:cNvPr id="8" name="Fußzeilenplatzhalter 7"/>
          <p:cNvSpPr>
            <a:spLocks noGrp="1"/>
          </p:cNvSpPr>
          <p:nvPr userDrawn="1">
            <p:ph type="ftr" sz="quarter" idx="12"/>
          </p:nvPr>
        </p:nvSpPr>
        <p:spPr bwMode="gray"/>
        <p:txBody>
          <a:bodyPr/>
          <a:lstStyle/>
          <a:p>
            <a:r>
              <a:rPr lang="en-US"/>
              <a:t>Training Master</a:t>
            </a:r>
            <a:endParaRPr lang="en-US" dirty="0"/>
          </a:p>
        </p:txBody>
      </p:sp>
      <p:sp>
        <p:nvSpPr>
          <p:cNvPr id="9" name="Foliennummernplatzhalter 8"/>
          <p:cNvSpPr>
            <a:spLocks noGrp="1"/>
          </p:cNvSpPr>
          <p:nvPr userDrawn="1">
            <p:ph type="sldNum" sz="quarter" idx="13"/>
          </p:nvPr>
        </p:nvSpPr>
        <p:spPr bwMode="gray"/>
        <p:txBody>
          <a:bodyPr/>
          <a:lstStyle/>
          <a:p>
            <a:fld id="{4915BD61-E5D5-4E4F-ADA0-6F3448AB9FA6}" type="slidenum">
              <a:rPr lang="en-US" smtClean="0"/>
              <a:pPr/>
              <a:t>‹Nr.›</a:t>
            </a:fld>
            <a:endParaRPr lang="en-US" dirty="0"/>
          </a:p>
        </p:txBody>
      </p:sp>
      <p:sp>
        <p:nvSpPr>
          <p:cNvPr id="2" name="Titel 1"/>
          <p:cNvSpPr>
            <a:spLocks noGrp="1"/>
          </p:cNvSpPr>
          <p:nvPr userDrawn="1">
            <p:ph type="ctrTitle" hasCustomPrompt="1"/>
          </p:nvPr>
        </p:nvSpPr>
        <p:spPr bwMode="gray">
          <a:xfrm>
            <a:off x="550436" y="3933974"/>
            <a:ext cx="11088687" cy="792000"/>
          </a:xfrm>
        </p:spPr>
        <p:txBody>
          <a:bodyPr/>
          <a:lstStyle>
            <a:lvl1pPr>
              <a:defRPr sz="3200" baseline="0">
                <a:solidFill>
                  <a:schemeClr val="accent1"/>
                </a:solidFill>
              </a:defRPr>
            </a:lvl1pPr>
          </a:lstStyle>
          <a:p>
            <a:r>
              <a:rPr lang="en-US" dirty="0"/>
              <a:t>Here is a very long Headline 32pt</a:t>
            </a:r>
          </a:p>
        </p:txBody>
      </p:sp>
    </p:spTree>
    <p:extLst>
      <p:ext uri="{BB962C8B-B14F-4D97-AF65-F5344CB8AC3E}">
        <p14:creationId xmlns:p14="http://schemas.microsoft.com/office/powerpoint/2010/main" val="36904518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without pictur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6" y="3933864"/>
            <a:ext cx="11088687" cy="792000"/>
          </a:xfrm>
        </p:spPr>
        <p:txBody>
          <a:bodyPr/>
          <a:lstStyle>
            <a:lvl1pPr>
              <a:defRPr sz="3200" baseline="0">
                <a:solidFill>
                  <a:schemeClr val="accent1"/>
                </a:solidFill>
              </a:defRPr>
            </a:lvl1pPr>
          </a:lstStyle>
          <a:p>
            <a:r>
              <a:rPr lang="en-US" dirty="0"/>
              <a:t>Here is a very long Headline 32pt</a:t>
            </a:r>
          </a:p>
        </p:txBody>
      </p:sp>
      <p:sp>
        <p:nvSpPr>
          <p:cNvPr id="3" name="Untertitel 2"/>
          <p:cNvSpPr>
            <a:spLocks noGrp="1"/>
          </p:cNvSpPr>
          <p:nvPr>
            <p:ph type="subTitle" idx="1" hasCustomPrompt="1"/>
          </p:nvPr>
        </p:nvSpPr>
        <p:spPr bwMode="gray">
          <a:xfrm>
            <a:off x="550436" y="4798144"/>
            <a:ext cx="11088688" cy="1152000"/>
          </a:xfrm>
        </p:spPr>
        <p:txBody>
          <a:bodyPr/>
          <a:lstStyle>
            <a:lvl1pPr marL="0" indent="0" algn="l">
              <a:buNone/>
              <a:defRPr sz="2000" cap="none" baseline="0">
                <a:solidFill>
                  <a:schemeClr val="accent1"/>
                </a:solidFill>
              </a:defRPr>
            </a:lvl1pPr>
            <a:lvl2pPr marL="0" indent="0" algn="l">
              <a:buNone/>
              <a:defRPr sz="2000">
                <a:solidFill>
                  <a:schemeClr val="accent1"/>
                </a:solidFill>
              </a:defRPr>
            </a:lvl2pPr>
            <a:lvl3pPr marL="0" indent="0" algn="l">
              <a:buNone/>
              <a:defRPr sz="2000">
                <a:solidFill>
                  <a:schemeClr val="accent1"/>
                </a:solidFill>
              </a:defRPr>
            </a:lvl3pPr>
            <a:lvl4pPr marL="0" indent="0" algn="l">
              <a:buNone/>
              <a:defRPr sz="2000">
                <a:solidFill>
                  <a:schemeClr val="accent1"/>
                </a:solidFill>
              </a:defRPr>
            </a:lvl4pPr>
            <a:lvl5pPr marL="0" indent="0" algn="l">
              <a:buNone/>
              <a:defRPr sz="2000">
                <a:solidFill>
                  <a:schemeClr val="accent1"/>
                </a:solidFill>
              </a:defRPr>
            </a:lvl5pPr>
            <a:lvl6pPr marL="0" indent="0" algn="l">
              <a:buNone/>
              <a:defRPr sz="2000">
                <a:solidFill>
                  <a:schemeClr val="accent1"/>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en-US" dirty="0"/>
              <a:t>Here is a </a:t>
            </a:r>
            <a:r>
              <a:rPr lang="en-US" dirty="0" err="1"/>
              <a:t>Subheadline</a:t>
            </a:r>
            <a:r>
              <a:rPr lang="en-US" dirty="0"/>
              <a:t> 20pt</a:t>
            </a:r>
          </a:p>
        </p:txBody>
      </p:sp>
      <p:sp>
        <p:nvSpPr>
          <p:cNvPr id="7" name="Datumsplatzhalter 6"/>
          <p:cNvSpPr>
            <a:spLocks noGrp="1"/>
          </p:cNvSpPr>
          <p:nvPr>
            <p:ph type="dt" sz="half" idx="11"/>
          </p:nvPr>
        </p:nvSpPr>
        <p:spPr bwMode="gray"/>
        <p:txBody>
          <a:bodyPr/>
          <a:lstStyle/>
          <a:p>
            <a:r>
              <a:rPr lang="en-US"/>
              <a:t>01/10/2019</a:t>
            </a:r>
            <a:endParaRPr lang="en-US" dirty="0"/>
          </a:p>
        </p:txBody>
      </p:sp>
      <p:sp>
        <p:nvSpPr>
          <p:cNvPr id="8" name="Fußzeilenplatzhalter 7"/>
          <p:cNvSpPr>
            <a:spLocks noGrp="1"/>
          </p:cNvSpPr>
          <p:nvPr>
            <p:ph type="ftr" sz="quarter" idx="12"/>
          </p:nvPr>
        </p:nvSpPr>
        <p:spPr bwMode="gray"/>
        <p:txBody>
          <a:bodyPr/>
          <a:lstStyle/>
          <a:p>
            <a:r>
              <a:rPr lang="en-US"/>
              <a:t>Training Master</a:t>
            </a:r>
            <a:endParaRPr lang="en-US" dirty="0"/>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Nr.›</a:t>
            </a:fld>
            <a:endParaRPr lang="en-US" dirty="0"/>
          </a:p>
        </p:txBody>
      </p:sp>
      <p:sp>
        <p:nvSpPr>
          <p:cNvPr id="14" name="Freihandform 13"/>
          <p:cNvSpPr/>
          <p:nvPr userDrawn="1"/>
        </p:nvSpPr>
        <p:spPr bwMode="gray">
          <a:xfrm>
            <a:off x="-2899" y="0"/>
            <a:ext cx="12193313" cy="3097677"/>
          </a:xfrm>
          <a:custGeom>
            <a:avLst/>
            <a:gdLst>
              <a:gd name="connsiteX0" fmla="*/ 2899 w 12193313"/>
              <a:gd name="connsiteY0" fmla="*/ 0 h 3097677"/>
              <a:gd name="connsiteX1" fmla="*/ 12193313 w 12193313"/>
              <a:gd name="connsiteY1" fmla="*/ 0 h 3097677"/>
              <a:gd name="connsiteX2" fmla="*/ 12193312 w 12193313"/>
              <a:gd name="connsiteY2" fmla="*/ 1563231 h 3097677"/>
              <a:gd name="connsiteX3" fmla="*/ 12193312 w 12193313"/>
              <a:gd name="connsiteY3" fmla="*/ 1 h 3097677"/>
              <a:gd name="connsiteX4" fmla="*/ 2899 w 12193313"/>
              <a:gd name="connsiteY4" fmla="*/ 1 h 3097677"/>
              <a:gd name="connsiteX5" fmla="*/ 2899 w 12193313"/>
              <a:gd name="connsiteY5" fmla="*/ 3097677 h 3097677"/>
              <a:gd name="connsiteX6" fmla="*/ 2477 w 12193313"/>
              <a:gd name="connsiteY6" fmla="*/ 3088544 h 3097677"/>
              <a:gd name="connsiteX7" fmla="*/ 2899 w 12193313"/>
              <a:gd name="connsiteY7" fmla="*/ 0 h 309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313" h="3097677">
                <a:moveTo>
                  <a:pt x="2899" y="0"/>
                </a:moveTo>
                <a:lnTo>
                  <a:pt x="12193313" y="0"/>
                </a:lnTo>
                <a:lnTo>
                  <a:pt x="12193312" y="1563231"/>
                </a:lnTo>
                <a:lnTo>
                  <a:pt x="12193312" y="1"/>
                </a:lnTo>
                <a:lnTo>
                  <a:pt x="2899" y="1"/>
                </a:lnTo>
                <a:lnTo>
                  <a:pt x="2899" y="3097677"/>
                </a:lnTo>
                <a:lnTo>
                  <a:pt x="2477" y="3088544"/>
                </a:lnTo>
                <a:cubicBezTo>
                  <a:pt x="-1704" y="2904402"/>
                  <a:pt x="79" y="4948"/>
                  <a:pt x="2899"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Freihandform 15"/>
          <p:cNvSpPr/>
          <p:nvPr userDrawn="1"/>
        </p:nvSpPr>
        <p:spPr bwMode="gray">
          <a:xfrm>
            <a:off x="0" y="0"/>
            <a:ext cx="12190413" cy="3406586"/>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3406586">
                <a:moveTo>
                  <a:pt x="0" y="0"/>
                </a:moveTo>
                <a:lnTo>
                  <a:pt x="12190413" y="0"/>
                </a:lnTo>
                <a:lnTo>
                  <a:pt x="12190413" y="1563230"/>
                </a:lnTo>
                <a:lnTo>
                  <a:pt x="12190412" y="3126460"/>
                </a:lnTo>
                <a:lnTo>
                  <a:pt x="12188206" y="3125946"/>
                </a:lnTo>
                <a:lnTo>
                  <a:pt x="12188206" y="3119321"/>
                </a:lnTo>
                <a:lnTo>
                  <a:pt x="12032390" y="3089643"/>
                </a:lnTo>
                <a:lnTo>
                  <a:pt x="11853287" y="3047915"/>
                </a:lnTo>
                <a:cubicBezTo>
                  <a:pt x="11151505" y="2905719"/>
                  <a:pt x="10345755" y="2824653"/>
                  <a:pt x="9474399" y="2814917"/>
                </a:cubicBezTo>
                <a:lnTo>
                  <a:pt x="9363219" y="2815958"/>
                </a:lnTo>
                <a:lnTo>
                  <a:pt x="9336724" y="2815490"/>
                </a:lnTo>
                <a:lnTo>
                  <a:pt x="9141154" y="2815490"/>
                </a:lnTo>
                <a:lnTo>
                  <a:pt x="8943837" y="2815489"/>
                </a:lnTo>
                <a:lnTo>
                  <a:pt x="8746521" y="2818982"/>
                </a:lnTo>
                <a:lnTo>
                  <a:pt x="8552697" y="2824221"/>
                </a:lnTo>
                <a:lnTo>
                  <a:pt x="8357128" y="2834697"/>
                </a:lnTo>
                <a:lnTo>
                  <a:pt x="8163303" y="2846920"/>
                </a:lnTo>
                <a:lnTo>
                  <a:pt x="7972972" y="2859144"/>
                </a:lnTo>
                <a:lnTo>
                  <a:pt x="7779149" y="2874858"/>
                </a:lnTo>
                <a:lnTo>
                  <a:pt x="7587072" y="2894066"/>
                </a:lnTo>
                <a:lnTo>
                  <a:pt x="7396738" y="2916766"/>
                </a:lnTo>
                <a:lnTo>
                  <a:pt x="7209903" y="2939466"/>
                </a:lnTo>
                <a:lnTo>
                  <a:pt x="7019571" y="2963913"/>
                </a:lnTo>
                <a:lnTo>
                  <a:pt x="6853019" y="2990374"/>
                </a:lnTo>
                <a:lnTo>
                  <a:pt x="6718666" y="3007620"/>
                </a:lnTo>
                <a:lnTo>
                  <a:pt x="6545441" y="3036817"/>
                </a:lnTo>
                <a:lnTo>
                  <a:pt x="6460798" y="3049475"/>
                </a:lnTo>
                <a:lnTo>
                  <a:pt x="6387367" y="3063462"/>
                </a:lnTo>
                <a:lnTo>
                  <a:pt x="6041160" y="3121816"/>
                </a:lnTo>
                <a:lnTo>
                  <a:pt x="5887321" y="3154127"/>
                </a:lnTo>
                <a:lnTo>
                  <a:pt x="5857713" y="3159113"/>
                </a:lnTo>
                <a:cubicBezTo>
                  <a:pt x="4271557" y="3407636"/>
                  <a:pt x="2741498" y="3469366"/>
                  <a:pt x="1438219" y="3342542"/>
                </a:cubicBezTo>
                <a:lnTo>
                  <a:pt x="1112913" y="3306015"/>
                </a:lnTo>
                <a:lnTo>
                  <a:pt x="1063194" y="3299628"/>
                </a:lnTo>
                <a:lnTo>
                  <a:pt x="750855" y="3254655"/>
                </a:lnTo>
                <a:cubicBezTo>
                  <a:pt x="585150" y="3228003"/>
                  <a:pt x="424237" y="3197839"/>
                  <a:pt x="268553" y="3164158"/>
                </a:cubicBezTo>
                <a:lnTo>
                  <a:pt x="1" y="3097698"/>
                </a:lnTo>
                <a:lnTo>
                  <a:pt x="0" y="30976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platzhalter 4">
            <a:extLst>
              <a:ext uri="{FF2B5EF4-FFF2-40B4-BE49-F238E27FC236}">
                <a16:creationId xmlns:a16="http://schemas.microsoft.com/office/drawing/2014/main" id="{C5630DA7-7F61-4B14-B13D-4B434036D455}"/>
              </a:ext>
            </a:extLst>
          </p:cNvPr>
          <p:cNvSpPr>
            <a:spLocks noGrp="1"/>
          </p:cNvSpPr>
          <p:nvPr>
            <p:ph type="body" sz="quarter" idx="14" hasCustomPrompt="1"/>
          </p:nvPr>
        </p:nvSpPr>
        <p:spPr>
          <a:xfrm>
            <a:off x="550863" y="477494"/>
            <a:ext cx="11088687" cy="792000"/>
          </a:xfrm>
        </p:spPr>
        <p:txBody>
          <a:bodyPr/>
          <a:lstStyle>
            <a:lvl1pPr marL="0" indent="0">
              <a:spcAft>
                <a:spcPts val="0"/>
              </a:spcAft>
              <a:buFont typeface="Arial" panose="020B0604020202020204" pitchFamily="34" charset="0"/>
              <a:buNone/>
              <a:defRPr sz="3200">
                <a:solidFill>
                  <a:schemeClr val="bg1"/>
                </a:solidFill>
              </a:defRPr>
            </a:lvl1pPr>
            <a:lvl2pPr marL="0" indent="0">
              <a:spcAft>
                <a:spcPts val="0"/>
              </a:spcAft>
              <a:buNone/>
              <a:defRPr sz="3200">
                <a:solidFill>
                  <a:schemeClr val="bg1"/>
                </a:solidFill>
              </a:defRPr>
            </a:lvl2pPr>
            <a:lvl3pPr marL="0" indent="0">
              <a:spcAft>
                <a:spcPts val="0"/>
              </a:spcAft>
              <a:buNone/>
              <a:defRPr sz="3200">
                <a:solidFill>
                  <a:schemeClr val="bg1"/>
                </a:solidFill>
              </a:defRPr>
            </a:lvl3pPr>
            <a:lvl4pPr marL="0" indent="0">
              <a:spcAft>
                <a:spcPts val="0"/>
              </a:spcAft>
              <a:buNone/>
              <a:defRPr sz="3200">
                <a:solidFill>
                  <a:schemeClr val="bg1"/>
                </a:solidFill>
              </a:defRPr>
            </a:lvl4pPr>
            <a:lvl5pPr marL="0" indent="0">
              <a:spcAft>
                <a:spcPts val="0"/>
              </a:spcAft>
              <a:buNone/>
              <a:defRPr sz="3200">
                <a:solidFill>
                  <a:schemeClr val="bg1"/>
                </a:solidFill>
              </a:defRPr>
            </a:lvl5pPr>
            <a:lvl6pPr marL="0" indent="0">
              <a:spcAft>
                <a:spcPts val="0"/>
              </a:spcAft>
              <a:buNone/>
              <a:defRPr sz="3200">
                <a:solidFill>
                  <a:schemeClr val="bg1"/>
                </a:solidFill>
              </a:defRPr>
            </a:lvl6pPr>
            <a:lvl7pPr marL="0" indent="0">
              <a:spcAft>
                <a:spcPts val="0"/>
              </a:spcAft>
              <a:buNone/>
              <a:defRPr sz="3200">
                <a:solidFill>
                  <a:schemeClr val="bg1"/>
                </a:solidFill>
              </a:defRPr>
            </a:lvl7pPr>
            <a:lvl8pPr marL="0" indent="0">
              <a:spcAft>
                <a:spcPts val="0"/>
              </a:spcAft>
              <a:buNone/>
              <a:defRPr sz="3200">
                <a:solidFill>
                  <a:schemeClr val="bg1"/>
                </a:solidFill>
              </a:defRPr>
            </a:lvl8pPr>
            <a:lvl9pPr marL="0" indent="0">
              <a:spcAft>
                <a:spcPts val="0"/>
              </a:spcAft>
              <a:buNone/>
              <a:defRPr sz="3200">
                <a:solidFill>
                  <a:schemeClr val="bg1"/>
                </a:solidFill>
              </a:defRPr>
            </a:lvl9pPr>
          </a:lstStyle>
          <a:p>
            <a:pPr lvl="0"/>
            <a:r>
              <a:rPr lang="en-US" dirty="0"/>
              <a:t>Here is a very long Headline 32pt</a:t>
            </a:r>
          </a:p>
        </p:txBody>
      </p:sp>
      <p:sp>
        <p:nvSpPr>
          <p:cNvPr id="15" name="Textplatzhalter 4">
            <a:extLst>
              <a:ext uri="{FF2B5EF4-FFF2-40B4-BE49-F238E27FC236}">
                <a16:creationId xmlns:a16="http://schemas.microsoft.com/office/drawing/2014/main" id="{5B987F16-0741-404D-AC62-9F54281B29D5}"/>
              </a:ext>
            </a:extLst>
          </p:cNvPr>
          <p:cNvSpPr>
            <a:spLocks noGrp="1"/>
          </p:cNvSpPr>
          <p:nvPr>
            <p:ph type="body" sz="quarter" idx="15" hasCustomPrompt="1"/>
          </p:nvPr>
        </p:nvSpPr>
        <p:spPr>
          <a:xfrm>
            <a:off x="550436" y="1341664"/>
            <a:ext cx="11088687" cy="1152000"/>
          </a:xfrm>
        </p:spPr>
        <p:txBody>
          <a:bodyPr/>
          <a:lstStyle>
            <a:lvl1pPr marL="0" indent="0">
              <a:spcAft>
                <a:spcPts val="0"/>
              </a:spcAft>
              <a:buFont typeface="Arial" panose="020B0604020202020204" pitchFamily="34" charset="0"/>
              <a:buNone/>
              <a:defRPr sz="2000">
                <a:solidFill>
                  <a:schemeClr val="bg1"/>
                </a:solidFill>
              </a:defRPr>
            </a:lvl1pPr>
            <a:lvl2pPr marL="0" indent="0">
              <a:spcAft>
                <a:spcPts val="0"/>
              </a:spcAft>
              <a:buNone/>
              <a:defRPr sz="2000">
                <a:solidFill>
                  <a:schemeClr val="bg1"/>
                </a:solidFill>
              </a:defRPr>
            </a:lvl2pPr>
            <a:lvl3pPr marL="0" indent="0">
              <a:spcAft>
                <a:spcPts val="0"/>
              </a:spcAft>
              <a:buNone/>
              <a:defRPr sz="2000">
                <a:solidFill>
                  <a:schemeClr val="bg1"/>
                </a:solidFill>
              </a:defRPr>
            </a:lvl3pPr>
            <a:lvl4pPr marL="0" indent="0">
              <a:spcAft>
                <a:spcPts val="0"/>
              </a:spcAft>
              <a:buNone/>
              <a:defRPr sz="2000">
                <a:solidFill>
                  <a:schemeClr val="bg1"/>
                </a:solidFill>
              </a:defRPr>
            </a:lvl4pPr>
            <a:lvl5pPr marL="0" indent="0">
              <a:spcAft>
                <a:spcPts val="0"/>
              </a:spcAft>
              <a:buNone/>
              <a:defRPr sz="2000">
                <a:solidFill>
                  <a:schemeClr val="bg1"/>
                </a:solidFill>
              </a:defRPr>
            </a:lvl5pPr>
            <a:lvl6pPr marL="0" indent="0">
              <a:spcAft>
                <a:spcPts val="0"/>
              </a:spcAft>
              <a:buNone/>
              <a:defRPr sz="2000">
                <a:solidFill>
                  <a:schemeClr val="bg1"/>
                </a:solidFill>
              </a:defRPr>
            </a:lvl6pPr>
            <a:lvl7pPr marL="0" indent="0">
              <a:spcAft>
                <a:spcPts val="0"/>
              </a:spcAft>
              <a:buNone/>
              <a:defRPr sz="2000">
                <a:solidFill>
                  <a:schemeClr val="bg1"/>
                </a:solidFill>
              </a:defRPr>
            </a:lvl7pPr>
            <a:lvl8pPr marL="0" indent="0">
              <a:spcAft>
                <a:spcPts val="0"/>
              </a:spcAft>
              <a:buNone/>
              <a:defRPr sz="2000">
                <a:solidFill>
                  <a:schemeClr val="bg1"/>
                </a:solidFill>
              </a:defRPr>
            </a:lvl8pPr>
            <a:lvl9pPr marL="0" indent="0">
              <a:spcAft>
                <a:spcPts val="0"/>
              </a:spcAft>
              <a:buNone/>
              <a:defRPr sz="2000">
                <a:solidFill>
                  <a:schemeClr val="bg1"/>
                </a:solidFill>
              </a:defRPr>
            </a:lvl9pPr>
          </a:lstStyle>
          <a:p>
            <a:pPr lvl="0"/>
            <a:r>
              <a:rPr lang="en-US" dirty="0"/>
              <a:t>Here is a </a:t>
            </a:r>
            <a:r>
              <a:rPr lang="en-US" dirty="0" err="1"/>
              <a:t>Subheadline</a:t>
            </a:r>
            <a:r>
              <a:rPr lang="en-US" dirty="0"/>
              <a:t> 20pt</a:t>
            </a:r>
          </a:p>
        </p:txBody>
      </p:sp>
    </p:spTree>
    <p:extLst>
      <p:ext uri="{BB962C8B-B14F-4D97-AF65-F5344CB8AC3E}">
        <p14:creationId xmlns:p14="http://schemas.microsoft.com/office/powerpoint/2010/main" val="28612920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bg1"/>
        </a:solidFill>
        <a:effectLst/>
      </p:bgPr>
    </p:bg>
    <p:spTree>
      <p:nvGrpSpPr>
        <p:cNvPr id="1" name=""/>
        <p:cNvGrpSpPr/>
        <p:nvPr/>
      </p:nvGrpSpPr>
      <p:grpSpPr>
        <a:xfrm>
          <a:off x="0" y="0"/>
          <a:ext cx="0" cy="0"/>
          <a:chOff x="0" y="0"/>
          <a:chExt cx="0" cy="0"/>
        </a:xfrm>
      </p:grpSpPr>
      <p:sp>
        <p:nvSpPr>
          <p:cNvPr id="11" name="Freihandform 15">
            <a:extLst>
              <a:ext uri="{FF2B5EF4-FFF2-40B4-BE49-F238E27FC236}">
                <a16:creationId xmlns:a16="http://schemas.microsoft.com/office/drawing/2014/main" id="{989B262F-E219-4EBA-AA0B-C9C5E44F5667}"/>
              </a:ext>
            </a:extLst>
          </p:cNvPr>
          <p:cNvSpPr/>
          <p:nvPr userDrawn="1"/>
        </p:nvSpPr>
        <p:spPr bwMode="gray">
          <a:xfrm>
            <a:off x="0" y="2814917"/>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p:cNvSpPr>
            <a:spLocks noGrp="1"/>
          </p:cNvSpPr>
          <p:nvPr>
            <p:ph type="ctrTitle" hasCustomPrompt="1"/>
          </p:nvPr>
        </p:nvSpPr>
        <p:spPr bwMode="gray">
          <a:xfrm>
            <a:off x="551976" y="3933864"/>
            <a:ext cx="11088000" cy="792000"/>
          </a:xfrm>
        </p:spPr>
        <p:txBody>
          <a:bodyPr/>
          <a:lstStyle>
            <a:lvl1pPr>
              <a:defRPr sz="3200" baseline="0">
                <a:solidFill>
                  <a:schemeClr val="accent1"/>
                </a:solidFill>
              </a:defRPr>
            </a:lvl1pPr>
          </a:lstStyle>
          <a:p>
            <a:r>
              <a:rPr lang="en-US" dirty="0"/>
              <a:t>Title »white« for internal Presentation 32pt</a:t>
            </a:r>
          </a:p>
        </p:txBody>
      </p:sp>
      <p:sp>
        <p:nvSpPr>
          <p:cNvPr id="3" name="Untertitel 2"/>
          <p:cNvSpPr>
            <a:spLocks noGrp="1"/>
          </p:cNvSpPr>
          <p:nvPr>
            <p:ph type="subTitle" idx="1" hasCustomPrompt="1"/>
          </p:nvPr>
        </p:nvSpPr>
        <p:spPr bwMode="gray">
          <a:xfrm>
            <a:off x="550436" y="4797749"/>
            <a:ext cx="11088000" cy="1152395"/>
          </a:xfrm>
        </p:spPr>
        <p:txBody>
          <a:bodyPr/>
          <a:lstStyle>
            <a:lvl1pPr marL="0" indent="0" algn="l">
              <a:buNone/>
              <a:defRPr sz="2000" cap="none" baseline="0">
                <a:solidFill>
                  <a:schemeClr val="accent1"/>
                </a:solidFill>
              </a:defRPr>
            </a:lvl1pPr>
            <a:lvl2pPr marL="0" indent="0" algn="l">
              <a:buNone/>
              <a:defRPr sz="2000">
                <a:solidFill>
                  <a:schemeClr val="accent1"/>
                </a:solidFill>
              </a:defRPr>
            </a:lvl2pPr>
            <a:lvl3pPr marL="0" indent="0" algn="l">
              <a:buNone/>
              <a:defRPr sz="2000">
                <a:solidFill>
                  <a:schemeClr val="accent1"/>
                </a:solidFill>
              </a:defRPr>
            </a:lvl3pPr>
            <a:lvl4pPr marL="0" indent="0" algn="l">
              <a:buNone/>
              <a:defRPr sz="2000">
                <a:solidFill>
                  <a:schemeClr val="accent1"/>
                </a:solidFill>
              </a:defRPr>
            </a:lvl4pPr>
            <a:lvl5pPr marL="0" indent="0" algn="l">
              <a:buNone/>
              <a:defRPr sz="2000">
                <a:solidFill>
                  <a:schemeClr val="accent1"/>
                </a:solidFill>
              </a:defRPr>
            </a:lvl5pPr>
            <a:lvl6pPr marL="0" indent="0" algn="l">
              <a:buNone/>
              <a:defRPr sz="2000">
                <a:solidFill>
                  <a:schemeClr val="accent1"/>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en-US" dirty="0"/>
              <a:t>Here is a </a:t>
            </a:r>
            <a:r>
              <a:rPr lang="en-US" dirty="0" err="1"/>
              <a:t>Subheadline</a:t>
            </a:r>
            <a:r>
              <a:rPr lang="en-US" dirty="0"/>
              <a:t> 20pt</a:t>
            </a:r>
          </a:p>
        </p:txBody>
      </p:sp>
      <p:sp>
        <p:nvSpPr>
          <p:cNvPr id="7" name="Datumsplatzhalter 6"/>
          <p:cNvSpPr>
            <a:spLocks noGrp="1"/>
          </p:cNvSpPr>
          <p:nvPr>
            <p:ph type="dt" sz="half" idx="11"/>
          </p:nvPr>
        </p:nvSpPr>
        <p:spPr bwMode="gray"/>
        <p:txBody>
          <a:bodyPr/>
          <a:lstStyle/>
          <a:p>
            <a:r>
              <a:rPr lang="en-US"/>
              <a:t>01/10/2019</a:t>
            </a:r>
            <a:endParaRPr lang="en-US" dirty="0"/>
          </a:p>
        </p:txBody>
      </p:sp>
      <p:sp>
        <p:nvSpPr>
          <p:cNvPr id="8" name="Fußzeilenplatzhalter 7"/>
          <p:cNvSpPr>
            <a:spLocks noGrp="1"/>
          </p:cNvSpPr>
          <p:nvPr>
            <p:ph type="ftr" sz="quarter" idx="12"/>
          </p:nvPr>
        </p:nvSpPr>
        <p:spPr bwMode="gray"/>
        <p:txBody>
          <a:bodyPr/>
          <a:lstStyle/>
          <a:p>
            <a:r>
              <a:rPr lang="en-US"/>
              <a:t>Training Master</a:t>
            </a:r>
            <a:endParaRPr lang="en-US" dirty="0"/>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Nr.›</a:t>
            </a:fld>
            <a:endParaRPr lang="en-US" dirty="0"/>
          </a:p>
        </p:txBody>
      </p:sp>
    </p:spTree>
    <p:extLst>
      <p:ext uri="{BB962C8B-B14F-4D97-AF65-F5344CB8AC3E}">
        <p14:creationId xmlns:p14="http://schemas.microsoft.com/office/powerpoint/2010/main" val="39563184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Nr.›</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40425353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274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42"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tags" Target="../tags/tag5.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EB0B659-FD6C-419B-B404-0DB361DEB17D}"/>
              </a:ext>
            </a:extLst>
          </p:cNvPr>
          <p:cNvGraphicFramePr>
            <a:graphicFrameLocks noChangeAspect="1"/>
          </p:cNvGraphicFramePr>
          <p:nvPr>
            <p:custDataLst>
              <p:tags r:id="rId34"/>
            </p:custDataLst>
            <p:extLst>
              <p:ext uri="{D42A27DB-BD31-4B8C-83A1-F6EECF244321}">
                <p14:modId xmlns:p14="http://schemas.microsoft.com/office/powerpoint/2010/main" val="1056375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40" imgW="306" imgH="306" progId="TCLayout.ActiveDocument.1">
                  <p:embed/>
                </p:oleObj>
              </mc:Choice>
              <mc:Fallback>
                <p:oleObj name="think-cell Folie" r:id="rId40" imgW="306" imgH="306" progId="TCLayout.ActiveDocument.1">
                  <p:embed/>
                  <p:pic>
                    <p:nvPicPr>
                      <p:cNvPr id="9" name="Objekt 8" hidden="1">
                        <a:extLst>
                          <a:ext uri="{FF2B5EF4-FFF2-40B4-BE49-F238E27FC236}">
                            <a16:creationId xmlns:a16="http://schemas.microsoft.com/office/drawing/2014/main" id="{6EB0B659-FD6C-419B-B404-0DB361DEB17D}"/>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3652EBD9-C421-490D-9005-D0177727898C}"/>
              </a:ext>
            </a:extLst>
          </p:cNvPr>
          <p:cNvSpPr/>
          <p:nvPr>
            <p:custDataLst>
              <p:tags r:id="rId3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la-Latn" sz="2400" b="0" i="0" u="none"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550862" y="405374"/>
            <a:ext cx="11088688" cy="432000"/>
          </a:xfrm>
          <a:prstGeom prst="rect">
            <a:avLst/>
          </a:prstGeom>
        </p:spPr>
        <p:txBody>
          <a:bodyPr vert="horz" lIns="0" tIns="0" rIns="0" bIns="0" rtlCol="0" anchor="t" anchorCtr="0">
            <a:noAutofit/>
          </a:bodyPr>
          <a:lstStyle/>
          <a:p>
            <a:r>
              <a:rPr lang="en-US" dirty="0"/>
              <a:t>Click to edit Master title style</a:t>
            </a:r>
          </a:p>
        </p:txBody>
      </p:sp>
      <p:sp>
        <p:nvSpPr>
          <p:cNvPr id="3" name="Textplatzhalter 2"/>
          <p:cNvSpPr>
            <a:spLocks noGrp="1"/>
          </p:cNvSpPr>
          <p:nvPr>
            <p:ph type="body" idx="1"/>
            <p:custDataLst>
              <p:tags r:id="rId36"/>
            </p:custDataLst>
          </p:nvPr>
        </p:nvSpPr>
        <p:spPr bwMode="gray">
          <a:xfrm>
            <a:off x="550862" y="1701800"/>
            <a:ext cx="11088687" cy="424773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umsplatzhalter 3"/>
          <p:cNvSpPr>
            <a:spLocks noGrp="1"/>
          </p:cNvSpPr>
          <p:nvPr>
            <p:ph type="dt" sz="half" idx="2"/>
          </p:nvPr>
        </p:nvSpPr>
        <p:spPr bwMode="gray">
          <a:xfrm>
            <a:off x="982586" y="6454213"/>
            <a:ext cx="648000" cy="172545"/>
          </a:xfrm>
          <a:prstGeom prst="rect">
            <a:avLst/>
          </a:prstGeom>
        </p:spPr>
        <p:txBody>
          <a:bodyPr vert="horz" lIns="0" tIns="0" rIns="0" bIns="0" rtlCol="0" anchor="b"/>
          <a:lstStyle>
            <a:lvl1pPr algn="l">
              <a:defRPr sz="800">
                <a:solidFill>
                  <a:schemeClr val="tx1"/>
                </a:solidFill>
              </a:defRPr>
            </a:lvl1pPr>
          </a:lstStyle>
          <a:p>
            <a:r>
              <a:rPr lang="en-US"/>
              <a:t>01/10/2019</a:t>
            </a:r>
            <a:endParaRPr lang="en-US" dirty="0"/>
          </a:p>
        </p:txBody>
      </p:sp>
      <p:sp>
        <p:nvSpPr>
          <p:cNvPr id="5" name="Fußzeilenplatzhalter 4"/>
          <p:cNvSpPr>
            <a:spLocks noGrp="1"/>
          </p:cNvSpPr>
          <p:nvPr>
            <p:ph type="ftr" sz="quarter" idx="3"/>
          </p:nvPr>
        </p:nvSpPr>
        <p:spPr bwMode="gray">
          <a:xfrm>
            <a:off x="1703106" y="6454213"/>
            <a:ext cx="4392000" cy="172545"/>
          </a:xfrm>
          <a:prstGeom prst="rect">
            <a:avLst/>
          </a:prstGeom>
        </p:spPr>
        <p:txBody>
          <a:bodyPr vert="horz" lIns="0" tIns="0" rIns="0" bIns="0" rtlCol="0" anchor="b"/>
          <a:lstStyle>
            <a:lvl1pPr algn="l">
              <a:defRPr sz="800">
                <a:solidFill>
                  <a:schemeClr val="tx1"/>
                </a:solidFill>
              </a:defRPr>
            </a:lvl1pPr>
          </a:lstStyle>
          <a:p>
            <a:r>
              <a:rPr lang="en-US"/>
              <a:t>Training Master</a:t>
            </a:r>
            <a:endParaRPr lang="en-US" dirty="0"/>
          </a:p>
        </p:txBody>
      </p:sp>
      <p:sp>
        <p:nvSpPr>
          <p:cNvPr id="6" name="Foliennummernplatzhalter 5"/>
          <p:cNvSpPr>
            <a:spLocks noGrp="1"/>
          </p:cNvSpPr>
          <p:nvPr>
            <p:ph type="sldNum" sz="quarter" idx="4"/>
          </p:nvPr>
        </p:nvSpPr>
        <p:spPr bwMode="gray">
          <a:xfrm>
            <a:off x="550486" y="6454213"/>
            <a:ext cx="360000" cy="172545"/>
          </a:xfrm>
          <a:prstGeom prst="rect">
            <a:avLst/>
          </a:prstGeom>
        </p:spPr>
        <p:txBody>
          <a:bodyPr vert="horz" lIns="0" tIns="0" rIns="0" bIns="0" rtlCol="0" anchor="b"/>
          <a:lstStyle>
            <a:lvl1pPr algn="l">
              <a:defRPr sz="800">
                <a:solidFill>
                  <a:schemeClr val="tx1"/>
                </a:solidFill>
              </a:defRPr>
            </a:lvl1pPr>
          </a:lstStyle>
          <a:p>
            <a:fld id="{4915BD61-E5D5-4E4F-ADA0-6F3448AB9FA6}" type="slidenum">
              <a:rPr lang="en-US" smtClean="0"/>
              <a:pPr/>
              <a:t>‹Nr.›</a:t>
            </a:fld>
            <a:endParaRPr lang="en-US" dirty="0"/>
          </a:p>
        </p:txBody>
      </p:sp>
      <p:sp>
        <p:nvSpPr>
          <p:cNvPr id="8" name="empower - DO NOT DELETE!!!"/>
          <p:cNvSpPr/>
          <p:nvPr>
            <p:custDataLst>
              <p:tags r:id="rId37"/>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0" name="empower - DO NOT DELETE!!!">
            <a:extLst>
              <a:ext uri="{FF2B5EF4-FFF2-40B4-BE49-F238E27FC236}">
                <a16:creationId xmlns:a16="http://schemas.microsoft.com/office/drawing/2014/main" id="{8AD63030-4767-4A21-B654-2F881B93D4B4}"/>
              </a:ext>
            </a:extLst>
          </p:cNvPr>
          <p:cNvSpPr/>
          <p:nvPr>
            <p:custDataLst>
              <p:tags r:id="rId38"/>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la-Latn" dirty="0"/>
          </a:p>
        </p:txBody>
      </p:sp>
      <p:cxnSp>
        <p:nvCxnSpPr>
          <p:cNvPr id="11" name="Gerader Verbinder 10">
            <a:extLst>
              <a:ext uri="{FF2B5EF4-FFF2-40B4-BE49-F238E27FC236}">
                <a16:creationId xmlns:a16="http://schemas.microsoft.com/office/drawing/2014/main" id="{07131B58-E84B-4CC7-BBE8-F9D0B12EA27A}"/>
              </a:ext>
            </a:extLst>
          </p:cNvPr>
          <p:cNvCxnSpPr/>
          <p:nvPr/>
        </p:nvCxnSpPr>
        <p:spPr>
          <a:xfrm>
            <a:off x="550863"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0598AD23-45E6-4604-8DD6-EB5CC92D5F22}"/>
              </a:ext>
            </a:extLst>
          </p:cNvPr>
          <p:cNvCxnSpPr/>
          <p:nvPr/>
        </p:nvCxnSpPr>
        <p:spPr>
          <a:xfrm>
            <a:off x="400691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5F06F58D-F39E-41D7-BEB0-BDC70C07F7F6}"/>
              </a:ext>
            </a:extLst>
          </p:cNvPr>
          <p:cNvCxnSpPr/>
          <p:nvPr/>
        </p:nvCxnSpPr>
        <p:spPr>
          <a:xfrm>
            <a:off x="436696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AEC19234-457F-4EF4-8157-E94AE64A6146}"/>
              </a:ext>
            </a:extLst>
          </p:cNvPr>
          <p:cNvCxnSpPr/>
          <p:nvPr/>
        </p:nvCxnSpPr>
        <p:spPr>
          <a:xfrm>
            <a:off x="782344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EA762C28-DD47-4A07-8B63-2906B815C2C2}"/>
              </a:ext>
            </a:extLst>
          </p:cNvPr>
          <p:cNvCxnSpPr/>
          <p:nvPr/>
        </p:nvCxnSpPr>
        <p:spPr>
          <a:xfrm>
            <a:off x="818349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95F9482B-D479-485E-9F39-286FC570435D}"/>
              </a:ext>
            </a:extLst>
          </p:cNvPr>
          <p:cNvCxnSpPr/>
          <p:nvPr/>
        </p:nvCxnSpPr>
        <p:spPr>
          <a:xfrm>
            <a:off x="116399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78B29934-F019-425E-AA6A-CD8D1FD7DE7F}"/>
              </a:ext>
            </a:extLst>
          </p:cNvPr>
          <p:cNvCxnSpPr/>
          <p:nvPr/>
        </p:nvCxnSpPr>
        <p:spPr>
          <a:xfrm>
            <a:off x="595118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C655C76-0E92-4FBC-A3F6-714046BA21F5}"/>
              </a:ext>
            </a:extLst>
          </p:cNvPr>
          <p:cNvCxnSpPr/>
          <p:nvPr/>
        </p:nvCxnSpPr>
        <p:spPr>
          <a:xfrm>
            <a:off x="623922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A03986BC-D8B1-4B4C-BDF2-9C8FF2BC80CF}"/>
              </a:ext>
            </a:extLst>
          </p:cNvPr>
          <p:cNvCxnSpPr/>
          <p:nvPr/>
        </p:nvCxnSpPr>
        <p:spPr>
          <a:xfrm>
            <a:off x="29987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1990AC40-0B14-4879-94A9-8DC985608640}"/>
              </a:ext>
            </a:extLst>
          </p:cNvPr>
          <p:cNvCxnSpPr/>
          <p:nvPr/>
        </p:nvCxnSpPr>
        <p:spPr>
          <a:xfrm>
            <a:off x="343083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C322C444-97A5-4642-8630-57EF884C1CAB}"/>
              </a:ext>
            </a:extLst>
          </p:cNvPr>
          <p:cNvCxnSpPr/>
          <p:nvPr/>
        </p:nvCxnSpPr>
        <p:spPr>
          <a:xfrm>
            <a:off x="87595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B8C8928-90C9-4B31-AD56-BE35F4416D11}"/>
              </a:ext>
            </a:extLst>
          </p:cNvPr>
          <p:cNvCxnSpPr/>
          <p:nvPr/>
        </p:nvCxnSpPr>
        <p:spPr>
          <a:xfrm>
            <a:off x="919163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8675C463-976F-4E33-AB65-04E47F6F576C}"/>
              </a:ext>
            </a:extLst>
          </p:cNvPr>
          <p:cNvCxnSpPr>
            <a:cxnSpLocks/>
          </p:cNvCxnSpPr>
          <p:nvPr/>
        </p:nvCxnSpPr>
        <p:spPr>
          <a:xfrm rot="5400000">
            <a:off x="-205674" y="36937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815F789C-AB46-4F67-8CB7-A46385D0E33C}"/>
              </a:ext>
            </a:extLst>
          </p:cNvPr>
          <p:cNvCxnSpPr>
            <a:cxnSpLocks/>
          </p:cNvCxnSpPr>
          <p:nvPr/>
        </p:nvCxnSpPr>
        <p:spPr>
          <a:xfrm rot="5400000">
            <a:off x="-205664" y="94545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4E9BF4CD-98DA-4928-9CDA-B74E407B3DB9}"/>
              </a:ext>
            </a:extLst>
          </p:cNvPr>
          <p:cNvCxnSpPr>
            <a:cxnSpLocks/>
          </p:cNvCxnSpPr>
          <p:nvPr/>
        </p:nvCxnSpPr>
        <p:spPr>
          <a:xfrm rot="5400000">
            <a:off x="-205654" y="166555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C5A643D9-3A9E-43D2-9DDD-0A55BEA0086C}"/>
              </a:ext>
            </a:extLst>
          </p:cNvPr>
          <p:cNvCxnSpPr>
            <a:cxnSpLocks/>
          </p:cNvCxnSpPr>
          <p:nvPr/>
        </p:nvCxnSpPr>
        <p:spPr>
          <a:xfrm rot="5400000">
            <a:off x="-205644" y="5914144"/>
            <a:ext cx="0" cy="72000"/>
          </a:xfrm>
          <a:prstGeom prst="line">
            <a:avLst/>
          </a:prstGeom>
        </p:spPr>
        <p:style>
          <a:lnRef idx="1">
            <a:schemeClr val="accent1"/>
          </a:lnRef>
          <a:fillRef idx="0">
            <a:schemeClr val="accent1"/>
          </a:fillRef>
          <a:effectRef idx="0">
            <a:schemeClr val="accent1"/>
          </a:effectRef>
          <a:fontRef idx="minor">
            <a:schemeClr val="tx1"/>
          </a:fontRef>
        </p:style>
      </p:cxnSp>
      <p:sp>
        <p:nvSpPr>
          <p:cNvPr id="27" name="empower - DO NOT DELETE!!!" hidden="1">
            <a:extLst>
              <a:ext uri="{FF2B5EF4-FFF2-40B4-BE49-F238E27FC236}">
                <a16:creationId xmlns:a16="http://schemas.microsoft.com/office/drawing/2014/main" id="{05F12F49-4722-45B5-BD7C-66B3E846E673}"/>
              </a:ext>
            </a:extLst>
          </p:cNvPr>
          <p:cNvSpPr/>
          <p:nvPr>
            <p:custDataLst>
              <p:tags r:id="rId39"/>
            </p:custDataLst>
          </p:nvPr>
        </p:nvSpPr>
        <p:spPr bwMode="gray">
          <a:xfrm>
            <a:off x="0" y="0"/>
            <a:ext cx="0" cy="0"/>
          </a:xfrm>
          <a:prstGeom prst="ellipse">
            <a:avLst/>
          </a:prstGeom>
          <a:solidFill>
            <a:schemeClr val="accent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lvl="0" algn="ctr" defTabSz="449263" eaLnBrk="0" hangingPunct="0">
              <a:buClr>
                <a:srgbClr val="000000"/>
              </a:buClr>
              <a:buSzPct val="100000"/>
            </a:pPr>
            <a:endParaRPr lang="de-DE" sz="1800" kern="0" dirty="0" err="1">
              <a:latin typeface="+mj-lt"/>
            </a:endParaRPr>
          </a:p>
        </p:txBody>
      </p:sp>
      <p:pic>
        <p:nvPicPr>
          <p:cNvPr id="28" name="Grafik 7">
            <a:extLst>
              <a:ext uri="{FF2B5EF4-FFF2-40B4-BE49-F238E27FC236}">
                <a16:creationId xmlns:a16="http://schemas.microsoft.com/office/drawing/2014/main" id="{5EFE21C1-ECEF-4F75-893C-1432AE36702C}"/>
              </a:ext>
            </a:extLst>
          </p:cNvPr>
          <p:cNvPicPr>
            <a:picLocks noChangeAspect="1"/>
          </p:cNvPicPr>
          <p:nvPr userDrawn="1"/>
        </p:nvPicPr>
        <p:blipFill>
          <a:blip r:embed="rId42">
            <a:extLs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3813696767"/>
      </p:ext>
    </p:extLst>
  </p:cSld>
  <p:clrMap bg1="lt1" tx1="dk1" bg2="lt2" tx2="dk2" accent1="accent1" accent2="accent2" accent3="accent3" accent4="accent4" accent5="accent5" accent6="accent6" hlink="hlink" folHlink="folHlink"/>
  <p:sldLayoutIdLst>
    <p:sldLayoutId id="2147483684" r:id="rId1"/>
    <p:sldLayoutId id="2147483705" r:id="rId2"/>
    <p:sldLayoutId id="2147483685" r:id="rId3"/>
    <p:sldLayoutId id="2147483686" r:id="rId4"/>
    <p:sldLayoutId id="2147483687" r:id="rId5"/>
    <p:sldLayoutId id="2147483688" r:id="rId6"/>
    <p:sldLayoutId id="2147483689" r:id="rId7"/>
    <p:sldLayoutId id="2147483690" r:id="rId8"/>
    <p:sldLayoutId id="2147483712" r:id="rId9"/>
    <p:sldLayoutId id="2147483691" r:id="rId10"/>
    <p:sldLayoutId id="2147483692" r:id="rId11"/>
    <p:sldLayoutId id="2147483693" r:id="rId12"/>
    <p:sldLayoutId id="2147483695" r:id="rId13"/>
    <p:sldLayoutId id="2147483696" r:id="rId14"/>
    <p:sldLayoutId id="2147483697" r:id="rId15"/>
    <p:sldLayoutId id="2147483698" r:id="rId16"/>
    <p:sldLayoutId id="2147483699" r:id="rId17"/>
    <p:sldLayoutId id="2147483694" r:id="rId18"/>
    <p:sldLayoutId id="2147483706" r:id="rId19"/>
    <p:sldLayoutId id="2147483709" r:id="rId20"/>
    <p:sldLayoutId id="2147483700" r:id="rId21"/>
    <p:sldLayoutId id="2147483701" r:id="rId22"/>
    <p:sldLayoutId id="2147483702" r:id="rId23"/>
    <p:sldLayoutId id="2147483714" r:id="rId24"/>
    <p:sldLayoutId id="2147483715" r:id="rId25"/>
    <p:sldLayoutId id="2147483716" r:id="rId26"/>
    <p:sldLayoutId id="2147483717" r:id="rId27"/>
    <p:sldLayoutId id="2147483718" r:id="rId28"/>
    <p:sldLayoutId id="2147483719" r:id="rId29"/>
    <p:sldLayoutId id="2147483703" r:id="rId30"/>
    <p:sldLayoutId id="2147483704" r:id="rId31"/>
  </p:sldLayoutIdLst>
  <p:hf sldNum="0" hdr="0" ftr="0" dt="0"/>
  <p:txStyles>
    <p:titleStyle>
      <a:lvl1pPr algn="l" defTabSz="1219170" rtl="0" eaLnBrk="1" latinLnBrk="0" hangingPunct="1">
        <a:spcBef>
          <a:spcPct val="0"/>
        </a:spcBef>
        <a:buNone/>
        <a:defRPr sz="2400" kern="1200">
          <a:solidFill>
            <a:schemeClr val="accent1"/>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9170" rtl="0" eaLnBrk="1" latinLnBrk="0" hangingPunct="1">
        <a:defRPr sz="1400" kern="1200">
          <a:solidFill>
            <a:schemeClr val="tx1"/>
          </a:solidFill>
          <a:latin typeface="+mn-lt"/>
          <a:ea typeface="+mn-ea"/>
          <a:cs typeface="+mn-cs"/>
        </a:defRPr>
      </a:lvl1pPr>
      <a:lvl2pPr marL="609585" algn="l" defTabSz="1219170" rtl="0" eaLnBrk="1" latinLnBrk="0" hangingPunct="1">
        <a:defRPr sz="1400" kern="1200">
          <a:solidFill>
            <a:schemeClr val="tx1"/>
          </a:solidFill>
          <a:latin typeface="+mn-lt"/>
          <a:ea typeface="+mn-ea"/>
          <a:cs typeface="+mn-cs"/>
        </a:defRPr>
      </a:lvl2pPr>
      <a:lvl3pPr marL="1219170" algn="l" defTabSz="1219170" rtl="0" eaLnBrk="1" latinLnBrk="0" hangingPunct="1">
        <a:defRPr sz="1400" kern="1200">
          <a:solidFill>
            <a:schemeClr val="tx1"/>
          </a:solidFill>
          <a:latin typeface="+mn-lt"/>
          <a:ea typeface="+mn-ea"/>
          <a:cs typeface="+mn-cs"/>
        </a:defRPr>
      </a:lvl3pPr>
      <a:lvl4pPr marL="1828754" algn="l" defTabSz="1219170" rtl="0" eaLnBrk="1" latinLnBrk="0" hangingPunct="1">
        <a:defRPr sz="1400" kern="1200">
          <a:solidFill>
            <a:schemeClr val="tx1"/>
          </a:solidFill>
          <a:latin typeface="+mn-lt"/>
          <a:ea typeface="+mn-ea"/>
          <a:cs typeface="+mn-cs"/>
        </a:defRPr>
      </a:lvl4pPr>
      <a:lvl5pPr marL="2438339" algn="l" defTabSz="1219170" rtl="0" eaLnBrk="1" latinLnBrk="0" hangingPunct="1">
        <a:defRPr sz="1400" kern="1200">
          <a:solidFill>
            <a:schemeClr val="tx1"/>
          </a:solidFill>
          <a:latin typeface="+mn-lt"/>
          <a:ea typeface="+mn-ea"/>
          <a:cs typeface="+mn-cs"/>
        </a:defRPr>
      </a:lvl5pPr>
      <a:lvl6pPr marL="3047924" algn="l" defTabSz="1219170" rtl="0" eaLnBrk="1" latinLnBrk="0" hangingPunct="1">
        <a:defRPr sz="1400" kern="1200">
          <a:solidFill>
            <a:schemeClr val="tx1"/>
          </a:solidFill>
          <a:latin typeface="+mn-lt"/>
          <a:ea typeface="+mn-ea"/>
          <a:cs typeface="+mn-cs"/>
        </a:defRPr>
      </a:lvl6pPr>
      <a:lvl7pPr marL="3657509" algn="l" defTabSz="1219170" rtl="0" eaLnBrk="1" latinLnBrk="0" hangingPunct="1">
        <a:defRPr sz="1400" kern="1200">
          <a:solidFill>
            <a:schemeClr val="tx1"/>
          </a:solidFill>
          <a:latin typeface="+mn-lt"/>
          <a:ea typeface="+mn-ea"/>
          <a:cs typeface="+mn-cs"/>
        </a:defRPr>
      </a:lvl7pPr>
      <a:lvl8pPr marL="4267093" algn="l" defTabSz="1219170" rtl="0" eaLnBrk="1" latinLnBrk="0" hangingPunct="1">
        <a:defRPr sz="1400" kern="1200">
          <a:solidFill>
            <a:schemeClr val="tx1"/>
          </a:solidFill>
          <a:latin typeface="+mn-lt"/>
          <a:ea typeface="+mn-ea"/>
          <a:cs typeface="+mn-cs"/>
        </a:defRPr>
      </a:lvl8pPr>
      <a:lvl9pPr marL="4876678" algn="l" defTabSz="121917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userDrawn="1">
          <p15:clr>
            <a:srgbClr val="F26B43"/>
          </p15:clr>
        </p15:guide>
        <p15:guide id="2" orient="horz" pos="3748" userDrawn="1">
          <p15:clr>
            <a:srgbClr val="F26B43"/>
          </p15:clr>
        </p15:guide>
        <p15:guide id="3" pos="7332" userDrawn="1">
          <p15:clr>
            <a:srgbClr val="F26B43"/>
          </p15:clr>
        </p15:guide>
        <p15:guide id="4" orient="horz" pos="1071" userDrawn="1">
          <p15:clr>
            <a:srgbClr val="F26B43"/>
          </p15:clr>
        </p15:guide>
        <p15:guide id="5" orient="horz" pos="255" userDrawn="1">
          <p15:clr>
            <a:srgbClr val="F26B43"/>
          </p15:clr>
        </p15:guide>
        <p15:guide id="6"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5C3BFF51-C909-4479-868E-90404C05F002}"/>
              </a:ext>
            </a:extLst>
          </p:cNvPr>
          <p:cNvSpPr>
            <a:spLocks noGrp="1"/>
          </p:cNvSpPr>
          <p:nvPr>
            <p:ph type="subTitle" idx="1"/>
          </p:nvPr>
        </p:nvSpPr>
        <p:spPr bwMode="gray"/>
        <p:txBody>
          <a:bodyPr/>
          <a:lstStyle/>
          <a:p>
            <a:r>
              <a:rPr lang="de-DE" dirty="0"/>
              <a:t>Project Virtual Keyboard</a:t>
            </a:r>
          </a:p>
          <a:p>
            <a:endParaRPr lang="de-DE" dirty="0"/>
          </a:p>
          <a:p>
            <a:r>
              <a:rPr lang="de-DE" dirty="0" err="1"/>
              <a:t>Using</a:t>
            </a:r>
            <a:r>
              <a:rPr lang="de-DE" dirty="0"/>
              <a:t> a C64 </a:t>
            </a:r>
            <a:r>
              <a:rPr lang="de-DE" dirty="0" err="1"/>
              <a:t>without</a:t>
            </a:r>
            <a:r>
              <a:rPr lang="de-DE" dirty="0"/>
              <a:t> </a:t>
            </a:r>
            <a:r>
              <a:rPr lang="de-DE" dirty="0" err="1"/>
              <a:t>touching</a:t>
            </a:r>
            <a:r>
              <a:rPr lang="de-DE" dirty="0"/>
              <a:t> </a:t>
            </a:r>
            <a:r>
              <a:rPr lang="de-DE" dirty="0" err="1"/>
              <a:t>it!</a:t>
            </a:r>
            <a:endParaRPr lang="de-DE" dirty="0"/>
          </a:p>
        </p:txBody>
      </p:sp>
      <p:sp>
        <p:nvSpPr>
          <p:cNvPr id="4" name="Titel 3">
            <a:extLst>
              <a:ext uri="{FF2B5EF4-FFF2-40B4-BE49-F238E27FC236}">
                <a16:creationId xmlns:a16="http://schemas.microsoft.com/office/drawing/2014/main" id="{6D43132A-C9A9-47E0-9A86-2D5B59A9675B}"/>
              </a:ext>
            </a:extLst>
          </p:cNvPr>
          <p:cNvSpPr>
            <a:spLocks noGrp="1"/>
          </p:cNvSpPr>
          <p:nvPr>
            <p:ph type="ctrTitle"/>
          </p:nvPr>
        </p:nvSpPr>
        <p:spPr bwMode="gray"/>
        <p:txBody>
          <a:bodyPr/>
          <a:lstStyle/>
          <a:p>
            <a:r>
              <a:rPr lang="de-DE" dirty="0"/>
              <a:t>TÜV Rheinland</a:t>
            </a:r>
            <a:br>
              <a:rPr lang="de-DE" dirty="0"/>
            </a:br>
            <a:endParaRPr lang="de-DE" dirty="0"/>
          </a:p>
        </p:txBody>
      </p:sp>
    </p:spTree>
    <p:extLst>
      <p:ext uri="{BB962C8B-B14F-4D97-AF65-F5344CB8AC3E}">
        <p14:creationId xmlns:p14="http://schemas.microsoft.com/office/powerpoint/2010/main" val="173070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875E26DF-65C3-4985-8A65-BA6C43BB1B1E}"/>
              </a:ext>
            </a:extLst>
          </p:cNvPr>
          <p:cNvPicPr>
            <a:picLocks noChangeAspect="1"/>
          </p:cNvPicPr>
          <p:nvPr/>
        </p:nvPicPr>
        <p:blipFill>
          <a:blip r:embed="rId2"/>
          <a:stretch>
            <a:fillRect/>
          </a:stretch>
        </p:blipFill>
        <p:spPr>
          <a:xfrm>
            <a:off x="1860009" y="2172534"/>
            <a:ext cx="4892400" cy="2238272"/>
          </a:xfrm>
          <a:prstGeom prst="rect">
            <a:avLst/>
          </a:prstGeom>
          <a:noFill/>
        </p:spPr>
      </p:pic>
      <p:sp>
        <p:nvSpPr>
          <p:cNvPr id="4" name="Titel 3">
            <a:extLst>
              <a:ext uri="{FF2B5EF4-FFF2-40B4-BE49-F238E27FC236}">
                <a16:creationId xmlns:a16="http://schemas.microsoft.com/office/drawing/2014/main" id="{7E42B55F-8770-4F3F-8531-A8EDA3BF21D9}"/>
              </a:ext>
            </a:extLst>
          </p:cNvPr>
          <p:cNvSpPr>
            <a:spLocks noGrp="1"/>
          </p:cNvSpPr>
          <p:nvPr>
            <p:ph type="title"/>
          </p:nvPr>
        </p:nvSpPr>
        <p:spPr>
          <a:xfrm>
            <a:off x="550862" y="405374"/>
            <a:ext cx="11088688" cy="432000"/>
          </a:xfrm>
        </p:spPr>
        <p:txBody>
          <a:bodyPr vert="horz" lIns="0" tIns="0" rIns="0" bIns="0" rtlCol="0" anchor="t" anchorCtr="0">
            <a:normAutofit/>
          </a:bodyPr>
          <a:lstStyle/>
          <a:p>
            <a:r>
              <a:rPr lang="en-US" kern="1200">
                <a:latin typeface="+mj-lt"/>
                <a:ea typeface="+mj-ea"/>
                <a:cs typeface="+mj-cs"/>
              </a:rPr>
              <a:t>Virtual Keyboard</a:t>
            </a:r>
          </a:p>
        </p:txBody>
      </p:sp>
      <p:sp>
        <p:nvSpPr>
          <p:cNvPr id="9" name="Textplatzhalter 2">
            <a:extLst>
              <a:ext uri="{FF2B5EF4-FFF2-40B4-BE49-F238E27FC236}">
                <a16:creationId xmlns:a16="http://schemas.microsoft.com/office/drawing/2014/main" id="{86E99EA3-413E-4F79-81E7-AA0C62BEB98D}"/>
              </a:ext>
            </a:extLst>
          </p:cNvPr>
          <p:cNvSpPr>
            <a:spLocks noGrp="1"/>
          </p:cNvSpPr>
          <p:nvPr>
            <p:ph type="body" sz="quarter" idx="13"/>
          </p:nvPr>
        </p:nvSpPr>
        <p:spPr>
          <a:xfrm>
            <a:off x="550800" y="982286"/>
            <a:ext cx="11088000" cy="503238"/>
          </a:xfrm>
        </p:spPr>
        <p:txBody>
          <a:bodyPr vert="horz" lIns="0" tIns="0" rIns="0" bIns="0" rtlCol="0">
            <a:normAutofit/>
          </a:bodyPr>
          <a:lstStyle/>
          <a:p>
            <a:pPr>
              <a:spcAft>
                <a:spcPts val="600"/>
              </a:spcAft>
            </a:pPr>
            <a:r>
              <a:rPr lang="en-US"/>
              <a:t>Community</a:t>
            </a:r>
          </a:p>
        </p:txBody>
      </p:sp>
      <p:sp>
        <p:nvSpPr>
          <p:cNvPr id="10" name="Textfeld 9">
            <a:extLst>
              <a:ext uri="{FF2B5EF4-FFF2-40B4-BE49-F238E27FC236}">
                <a16:creationId xmlns:a16="http://schemas.microsoft.com/office/drawing/2014/main" id="{CE73A60A-31E3-4B6D-8F7E-054B267BDCD2}"/>
              </a:ext>
            </a:extLst>
          </p:cNvPr>
          <p:cNvSpPr txBox="1"/>
          <p:nvPr/>
        </p:nvSpPr>
        <p:spPr bwMode="gray">
          <a:xfrm>
            <a:off x="8183124" y="1701555"/>
            <a:ext cx="3456000" cy="647900"/>
          </a:xfrm>
          <a:prstGeom prst="rect">
            <a:avLst/>
          </a:prstGeom>
        </p:spPr>
        <p:txBody>
          <a:bodyPr vert="horz" lIns="0" tIns="0" rIns="0" bIns="144000" rtlCol="0" anchor="b" anchorCtr="0">
            <a:normAutofit/>
          </a:bodyPr>
          <a:lstStyle/>
          <a:p>
            <a:pPr>
              <a:lnSpc>
                <a:spcPct val="90000"/>
              </a:lnSpc>
              <a:spcAft>
                <a:spcPts val="600"/>
              </a:spcAft>
              <a:buClr>
                <a:schemeClr val="tx2"/>
              </a:buClr>
            </a:pPr>
            <a:r>
              <a:rPr lang="de-DE" sz="1100" b="1" kern="1200" cap="none" baseline="0">
                <a:latin typeface="+mn-lt"/>
                <a:ea typeface="+mn-ea"/>
                <a:cs typeface="+mn-cs"/>
              </a:rPr>
              <a:t>https://www.forum64.de/index.php?thread/99337-gemeinsames-forum64-bastelprojekt/&amp;highlight=bastelprojekt</a:t>
            </a:r>
          </a:p>
        </p:txBody>
      </p:sp>
    </p:spTree>
    <p:extLst>
      <p:ext uri="{BB962C8B-B14F-4D97-AF65-F5344CB8AC3E}">
        <p14:creationId xmlns:p14="http://schemas.microsoft.com/office/powerpoint/2010/main" val="11857152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E42B55F-8770-4F3F-8531-A8EDA3BF21D9}"/>
              </a:ext>
            </a:extLst>
          </p:cNvPr>
          <p:cNvSpPr>
            <a:spLocks noGrp="1"/>
          </p:cNvSpPr>
          <p:nvPr>
            <p:ph type="title"/>
          </p:nvPr>
        </p:nvSpPr>
        <p:spPr>
          <a:xfrm>
            <a:off x="550862" y="405374"/>
            <a:ext cx="11088688" cy="432000"/>
          </a:xfrm>
        </p:spPr>
        <p:txBody>
          <a:bodyPr anchor="t">
            <a:normAutofit/>
          </a:bodyPr>
          <a:lstStyle/>
          <a:p>
            <a:r>
              <a:rPr lang="de-DE" dirty="0"/>
              <a:t>Virtual Keyboard</a:t>
            </a:r>
          </a:p>
        </p:txBody>
      </p:sp>
      <p:sp>
        <p:nvSpPr>
          <p:cNvPr id="9" name="Textplatzhalter 2">
            <a:extLst>
              <a:ext uri="{FF2B5EF4-FFF2-40B4-BE49-F238E27FC236}">
                <a16:creationId xmlns:a16="http://schemas.microsoft.com/office/drawing/2014/main" id="{86E99EA3-413E-4F79-81E7-AA0C62BEB98D}"/>
              </a:ext>
            </a:extLst>
          </p:cNvPr>
          <p:cNvSpPr>
            <a:spLocks noGrp="1"/>
          </p:cNvSpPr>
          <p:nvPr>
            <p:ph type="body" sz="quarter" idx="13"/>
          </p:nvPr>
        </p:nvSpPr>
        <p:spPr>
          <a:xfrm>
            <a:off x="550800" y="982286"/>
            <a:ext cx="11088000" cy="503238"/>
          </a:xfrm>
        </p:spPr>
        <p:txBody>
          <a:bodyPr>
            <a:normAutofit/>
          </a:bodyPr>
          <a:lstStyle/>
          <a:p>
            <a:pPr>
              <a:spcAft>
                <a:spcPts val="600"/>
              </a:spcAft>
            </a:pPr>
            <a:r>
              <a:rPr lang="de-DE"/>
              <a:t>Community</a:t>
            </a:r>
          </a:p>
        </p:txBody>
      </p:sp>
      <p:pic>
        <p:nvPicPr>
          <p:cNvPr id="3" name="Grafik 2">
            <a:extLst>
              <a:ext uri="{FF2B5EF4-FFF2-40B4-BE49-F238E27FC236}">
                <a16:creationId xmlns:a16="http://schemas.microsoft.com/office/drawing/2014/main" id="{170044A8-3056-48DC-8888-D9ED8F2FA50B}"/>
              </a:ext>
            </a:extLst>
          </p:cNvPr>
          <p:cNvPicPr>
            <a:picLocks noChangeAspect="1"/>
          </p:cNvPicPr>
          <p:nvPr/>
        </p:nvPicPr>
        <p:blipFill rotWithShape="1">
          <a:blip r:embed="rId2"/>
          <a:srcRect r="-1" b="4011"/>
          <a:stretch/>
        </p:blipFill>
        <p:spPr>
          <a:xfrm>
            <a:off x="8183550" y="2493554"/>
            <a:ext cx="3456426" cy="3456000"/>
          </a:xfrm>
          <a:prstGeom prst="rect">
            <a:avLst/>
          </a:prstGeom>
          <a:noFill/>
        </p:spPr>
      </p:pic>
      <p:sp>
        <p:nvSpPr>
          <p:cNvPr id="16" name="Text Placeholder 4">
            <a:extLst>
              <a:ext uri="{FF2B5EF4-FFF2-40B4-BE49-F238E27FC236}">
                <a16:creationId xmlns:a16="http://schemas.microsoft.com/office/drawing/2014/main" id="{F90F7BEC-8438-6D15-5607-C4A6769A8266}"/>
              </a:ext>
            </a:extLst>
          </p:cNvPr>
          <p:cNvSpPr>
            <a:spLocks noGrp="1"/>
          </p:cNvSpPr>
          <p:nvPr>
            <p:ph type="body" sz="quarter" idx="16"/>
          </p:nvPr>
        </p:nvSpPr>
        <p:spPr>
          <a:xfrm>
            <a:off x="8183124" y="1701555"/>
            <a:ext cx="3456000" cy="647900"/>
          </a:xfrm>
        </p:spPr>
        <p:txBody>
          <a:bodyPr/>
          <a:lstStyle/>
          <a:p>
            <a:r>
              <a:rPr lang="en-US" dirty="0"/>
              <a:t>Joystick switch</a:t>
            </a:r>
          </a:p>
        </p:txBody>
      </p:sp>
      <p:pic>
        <p:nvPicPr>
          <p:cNvPr id="6" name="Grafik 5">
            <a:extLst>
              <a:ext uri="{FF2B5EF4-FFF2-40B4-BE49-F238E27FC236}">
                <a16:creationId xmlns:a16="http://schemas.microsoft.com/office/drawing/2014/main" id="{86BDD699-CF87-4E04-9EC7-3D6E58A30BA4}"/>
              </a:ext>
            </a:extLst>
          </p:cNvPr>
          <p:cNvPicPr>
            <a:picLocks noChangeAspect="1"/>
          </p:cNvPicPr>
          <p:nvPr/>
        </p:nvPicPr>
        <p:blipFill rotWithShape="1">
          <a:blip r:embed="rId3"/>
          <a:srcRect l="2995" r="33076" b="-1"/>
          <a:stretch/>
        </p:blipFill>
        <p:spPr>
          <a:xfrm>
            <a:off x="2198942" y="2104973"/>
            <a:ext cx="4859337" cy="3477600"/>
          </a:xfrm>
          <a:prstGeom prst="rect">
            <a:avLst/>
          </a:prstGeom>
          <a:noFill/>
        </p:spPr>
      </p:pic>
    </p:spTree>
    <p:extLst>
      <p:ext uri="{BB962C8B-B14F-4D97-AF65-F5344CB8AC3E}">
        <p14:creationId xmlns:p14="http://schemas.microsoft.com/office/powerpoint/2010/main" val="5877272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E42B55F-8770-4F3F-8531-A8EDA3BF21D9}"/>
              </a:ext>
            </a:extLst>
          </p:cNvPr>
          <p:cNvSpPr>
            <a:spLocks noGrp="1"/>
          </p:cNvSpPr>
          <p:nvPr>
            <p:ph type="title"/>
          </p:nvPr>
        </p:nvSpPr>
        <p:spPr/>
        <p:txBody>
          <a:bodyPr/>
          <a:lstStyle/>
          <a:p>
            <a:r>
              <a:rPr lang="de-DE" dirty="0"/>
              <a:t>Virtual Keyboard</a:t>
            </a:r>
          </a:p>
        </p:txBody>
      </p:sp>
      <p:sp>
        <p:nvSpPr>
          <p:cNvPr id="9" name="Textplatzhalter 2">
            <a:extLst>
              <a:ext uri="{FF2B5EF4-FFF2-40B4-BE49-F238E27FC236}">
                <a16:creationId xmlns:a16="http://schemas.microsoft.com/office/drawing/2014/main" id="{86E99EA3-413E-4F79-81E7-AA0C62BEB98D}"/>
              </a:ext>
            </a:extLst>
          </p:cNvPr>
          <p:cNvSpPr>
            <a:spLocks noGrp="1"/>
          </p:cNvSpPr>
          <p:nvPr>
            <p:ph type="body" sz="quarter" idx="14"/>
          </p:nvPr>
        </p:nvSpPr>
        <p:spPr>
          <a:xfrm>
            <a:off x="550800" y="982286"/>
            <a:ext cx="11088000" cy="503238"/>
          </a:xfrm>
        </p:spPr>
        <p:txBody>
          <a:bodyPr/>
          <a:lstStyle/>
          <a:p>
            <a:r>
              <a:rPr lang="de-DE" dirty="0"/>
              <a:t>Homecomputer…</a:t>
            </a:r>
          </a:p>
        </p:txBody>
      </p:sp>
      <p:pic>
        <p:nvPicPr>
          <p:cNvPr id="15" name="Grafik 14">
            <a:extLst>
              <a:ext uri="{FF2B5EF4-FFF2-40B4-BE49-F238E27FC236}">
                <a16:creationId xmlns:a16="http://schemas.microsoft.com/office/drawing/2014/main" id="{F74AF2E1-CF1F-4271-B58C-103E0C5E4F4C}"/>
              </a:ext>
            </a:extLst>
          </p:cNvPr>
          <p:cNvPicPr>
            <a:picLocks noChangeAspect="1"/>
          </p:cNvPicPr>
          <p:nvPr/>
        </p:nvPicPr>
        <p:blipFill>
          <a:blip r:embed="rId2"/>
          <a:stretch>
            <a:fillRect/>
          </a:stretch>
        </p:blipFill>
        <p:spPr>
          <a:xfrm>
            <a:off x="7175356" y="4023964"/>
            <a:ext cx="3960740" cy="2170611"/>
          </a:xfrm>
          <a:prstGeom prst="rect">
            <a:avLst/>
          </a:prstGeom>
        </p:spPr>
      </p:pic>
      <p:pic>
        <p:nvPicPr>
          <p:cNvPr id="17" name="Grafik 16">
            <a:extLst>
              <a:ext uri="{FF2B5EF4-FFF2-40B4-BE49-F238E27FC236}">
                <a16:creationId xmlns:a16="http://schemas.microsoft.com/office/drawing/2014/main" id="{F54DE1F0-527A-4B69-8305-DF0BBA7498C6}"/>
              </a:ext>
            </a:extLst>
          </p:cNvPr>
          <p:cNvPicPr>
            <a:picLocks noChangeAspect="1"/>
          </p:cNvPicPr>
          <p:nvPr/>
        </p:nvPicPr>
        <p:blipFill>
          <a:blip r:embed="rId3"/>
          <a:stretch>
            <a:fillRect/>
          </a:stretch>
        </p:blipFill>
        <p:spPr>
          <a:xfrm>
            <a:off x="6954222" y="530022"/>
            <a:ext cx="2085517" cy="2917972"/>
          </a:xfrm>
          <a:prstGeom prst="rect">
            <a:avLst/>
          </a:prstGeom>
        </p:spPr>
      </p:pic>
      <p:pic>
        <p:nvPicPr>
          <p:cNvPr id="13" name="Grafik 12">
            <a:extLst>
              <a:ext uri="{FF2B5EF4-FFF2-40B4-BE49-F238E27FC236}">
                <a16:creationId xmlns:a16="http://schemas.microsoft.com/office/drawing/2014/main" id="{5952BE24-4B5B-419D-BC48-6B8AD6588060}"/>
              </a:ext>
            </a:extLst>
          </p:cNvPr>
          <p:cNvPicPr>
            <a:picLocks noChangeAspect="1"/>
          </p:cNvPicPr>
          <p:nvPr/>
        </p:nvPicPr>
        <p:blipFill>
          <a:blip r:embed="rId4"/>
          <a:stretch>
            <a:fillRect/>
          </a:stretch>
        </p:blipFill>
        <p:spPr>
          <a:xfrm>
            <a:off x="8093814" y="1142204"/>
            <a:ext cx="2289364" cy="2906356"/>
          </a:xfrm>
          <a:prstGeom prst="rect">
            <a:avLst/>
          </a:prstGeom>
        </p:spPr>
      </p:pic>
      <p:pic>
        <p:nvPicPr>
          <p:cNvPr id="19" name="Grafik 18">
            <a:extLst>
              <a:ext uri="{FF2B5EF4-FFF2-40B4-BE49-F238E27FC236}">
                <a16:creationId xmlns:a16="http://schemas.microsoft.com/office/drawing/2014/main" id="{1E760E2B-6FB1-43A9-B658-C5CD7DEA6A74}"/>
              </a:ext>
            </a:extLst>
          </p:cNvPr>
          <p:cNvPicPr>
            <a:picLocks noChangeAspect="1"/>
          </p:cNvPicPr>
          <p:nvPr/>
        </p:nvPicPr>
        <p:blipFill>
          <a:blip r:embed="rId5"/>
          <a:stretch>
            <a:fillRect/>
          </a:stretch>
        </p:blipFill>
        <p:spPr>
          <a:xfrm>
            <a:off x="9610645" y="541638"/>
            <a:ext cx="2222109" cy="2906356"/>
          </a:xfrm>
          <a:prstGeom prst="rect">
            <a:avLst/>
          </a:prstGeom>
        </p:spPr>
      </p:pic>
      <p:pic>
        <p:nvPicPr>
          <p:cNvPr id="3" name="Grafik 2">
            <a:extLst>
              <a:ext uri="{FF2B5EF4-FFF2-40B4-BE49-F238E27FC236}">
                <a16:creationId xmlns:a16="http://schemas.microsoft.com/office/drawing/2014/main" id="{9E1F1AD6-A20D-49A9-83AA-A692FEA1C275}"/>
              </a:ext>
            </a:extLst>
          </p:cNvPr>
          <p:cNvPicPr>
            <a:picLocks noChangeAspect="1"/>
          </p:cNvPicPr>
          <p:nvPr/>
        </p:nvPicPr>
        <p:blipFill>
          <a:blip r:embed="rId6"/>
          <a:stretch>
            <a:fillRect/>
          </a:stretch>
        </p:blipFill>
        <p:spPr>
          <a:xfrm>
            <a:off x="170007" y="1485524"/>
            <a:ext cx="3049444" cy="4670244"/>
          </a:xfrm>
          <a:prstGeom prst="rect">
            <a:avLst/>
          </a:prstGeom>
        </p:spPr>
      </p:pic>
      <p:pic>
        <p:nvPicPr>
          <p:cNvPr id="6" name="Grafik 5">
            <a:extLst>
              <a:ext uri="{FF2B5EF4-FFF2-40B4-BE49-F238E27FC236}">
                <a16:creationId xmlns:a16="http://schemas.microsoft.com/office/drawing/2014/main" id="{F0322EDB-D3D3-4E96-B296-40732485E525}"/>
              </a:ext>
            </a:extLst>
          </p:cNvPr>
          <p:cNvPicPr>
            <a:picLocks noChangeAspect="1"/>
          </p:cNvPicPr>
          <p:nvPr/>
        </p:nvPicPr>
        <p:blipFill>
          <a:blip r:embed="rId7"/>
          <a:stretch>
            <a:fillRect/>
          </a:stretch>
        </p:blipFill>
        <p:spPr>
          <a:xfrm>
            <a:off x="3367334" y="438608"/>
            <a:ext cx="3439005" cy="3334215"/>
          </a:xfrm>
          <a:prstGeom prst="rect">
            <a:avLst/>
          </a:prstGeom>
        </p:spPr>
      </p:pic>
      <p:pic>
        <p:nvPicPr>
          <p:cNvPr id="8" name="Grafik 7">
            <a:extLst>
              <a:ext uri="{FF2B5EF4-FFF2-40B4-BE49-F238E27FC236}">
                <a16:creationId xmlns:a16="http://schemas.microsoft.com/office/drawing/2014/main" id="{CC904729-BBEC-47E6-9C84-E998EBC93355}"/>
              </a:ext>
            </a:extLst>
          </p:cNvPr>
          <p:cNvPicPr>
            <a:picLocks noChangeAspect="1"/>
          </p:cNvPicPr>
          <p:nvPr/>
        </p:nvPicPr>
        <p:blipFill>
          <a:blip r:embed="rId8"/>
          <a:stretch>
            <a:fillRect/>
          </a:stretch>
        </p:blipFill>
        <p:spPr>
          <a:xfrm>
            <a:off x="3367334" y="3904604"/>
            <a:ext cx="3439005" cy="2830661"/>
          </a:xfrm>
          <a:prstGeom prst="rect">
            <a:avLst/>
          </a:prstGeom>
        </p:spPr>
      </p:pic>
    </p:spTree>
    <p:extLst>
      <p:ext uri="{BB962C8B-B14F-4D97-AF65-F5344CB8AC3E}">
        <p14:creationId xmlns:p14="http://schemas.microsoft.com/office/powerpoint/2010/main" val="29176936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E42B55F-8770-4F3F-8531-A8EDA3BF21D9}"/>
              </a:ext>
            </a:extLst>
          </p:cNvPr>
          <p:cNvSpPr>
            <a:spLocks noGrp="1"/>
          </p:cNvSpPr>
          <p:nvPr>
            <p:ph type="title"/>
          </p:nvPr>
        </p:nvSpPr>
        <p:spPr/>
        <p:txBody>
          <a:bodyPr/>
          <a:lstStyle/>
          <a:p>
            <a:r>
              <a:rPr lang="de-DE" dirty="0"/>
              <a:t>Virtual Keyboard</a:t>
            </a:r>
          </a:p>
        </p:txBody>
      </p:sp>
      <p:sp>
        <p:nvSpPr>
          <p:cNvPr id="9" name="Textplatzhalter 2">
            <a:extLst>
              <a:ext uri="{FF2B5EF4-FFF2-40B4-BE49-F238E27FC236}">
                <a16:creationId xmlns:a16="http://schemas.microsoft.com/office/drawing/2014/main" id="{86E99EA3-413E-4F79-81E7-AA0C62BEB98D}"/>
              </a:ext>
            </a:extLst>
          </p:cNvPr>
          <p:cNvSpPr>
            <a:spLocks noGrp="1"/>
          </p:cNvSpPr>
          <p:nvPr>
            <p:ph type="body" sz="quarter" idx="14"/>
          </p:nvPr>
        </p:nvSpPr>
        <p:spPr>
          <a:xfrm>
            <a:off x="550800" y="982286"/>
            <a:ext cx="11088000" cy="503238"/>
          </a:xfrm>
        </p:spPr>
        <p:txBody>
          <a:bodyPr/>
          <a:lstStyle/>
          <a:p>
            <a:r>
              <a:rPr lang="de-DE" dirty="0"/>
              <a:t>Homecomputer…</a:t>
            </a:r>
          </a:p>
        </p:txBody>
      </p:sp>
      <p:pic>
        <p:nvPicPr>
          <p:cNvPr id="8" name="Grafik 7">
            <a:extLst>
              <a:ext uri="{FF2B5EF4-FFF2-40B4-BE49-F238E27FC236}">
                <a16:creationId xmlns:a16="http://schemas.microsoft.com/office/drawing/2014/main" id="{41D5AC71-9AF9-47E1-9694-DC467FBF076A}"/>
              </a:ext>
            </a:extLst>
          </p:cNvPr>
          <p:cNvPicPr>
            <a:picLocks noChangeAspect="1"/>
          </p:cNvPicPr>
          <p:nvPr/>
        </p:nvPicPr>
        <p:blipFill>
          <a:blip r:embed="rId2"/>
          <a:stretch>
            <a:fillRect/>
          </a:stretch>
        </p:blipFill>
        <p:spPr>
          <a:xfrm>
            <a:off x="8691327" y="405374"/>
            <a:ext cx="2934109" cy="5353797"/>
          </a:xfrm>
          <a:prstGeom prst="rect">
            <a:avLst/>
          </a:prstGeom>
        </p:spPr>
      </p:pic>
      <p:pic>
        <p:nvPicPr>
          <p:cNvPr id="12" name="Grafik 11">
            <a:extLst>
              <a:ext uri="{FF2B5EF4-FFF2-40B4-BE49-F238E27FC236}">
                <a16:creationId xmlns:a16="http://schemas.microsoft.com/office/drawing/2014/main" id="{235AC3A5-4ABD-4CBD-82A1-F29E4FADC2C4}"/>
              </a:ext>
            </a:extLst>
          </p:cNvPr>
          <p:cNvPicPr>
            <a:picLocks noChangeAspect="1"/>
          </p:cNvPicPr>
          <p:nvPr/>
        </p:nvPicPr>
        <p:blipFill>
          <a:blip r:embed="rId3"/>
          <a:stretch>
            <a:fillRect/>
          </a:stretch>
        </p:blipFill>
        <p:spPr>
          <a:xfrm>
            <a:off x="896268" y="1630436"/>
            <a:ext cx="3724795" cy="2105319"/>
          </a:xfrm>
          <a:prstGeom prst="rect">
            <a:avLst/>
          </a:prstGeom>
        </p:spPr>
      </p:pic>
      <p:pic>
        <p:nvPicPr>
          <p:cNvPr id="16" name="Grafik 15">
            <a:extLst>
              <a:ext uri="{FF2B5EF4-FFF2-40B4-BE49-F238E27FC236}">
                <a16:creationId xmlns:a16="http://schemas.microsoft.com/office/drawing/2014/main" id="{D3843107-0F5E-435D-93A2-59D6ED7FCBBD}"/>
              </a:ext>
            </a:extLst>
          </p:cNvPr>
          <p:cNvPicPr>
            <a:picLocks noChangeAspect="1"/>
          </p:cNvPicPr>
          <p:nvPr/>
        </p:nvPicPr>
        <p:blipFill>
          <a:blip r:embed="rId4"/>
          <a:stretch>
            <a:fillRect/>
          </a:stretch>
        </p:blipFill>
        <p:spPr>
          <a:xfrm>
            <a:off x="262396" y="4005874"/>
            <a:ext cx="4655007" cy="2381069"/>
          </a:xfrm>
          <a:prstGeom prst="rect">
            <a:avLst/>
          </a:prstGeom>
        </p:spPr>
      </p:pic>
      <p:pic>
        <p:nvPicPr>
          <p:cNvPr id="20" name="Grafik 19">
            <a:extLst>
              <a:ext uri="{FF2B5EF4-FFF2-40B4-BE49-F238E27FC236}">
                <a16:creationId xmlns:a16="http://schemas.microsoft.com/office/drawing/2014/main" id="{2D00B2A3-B1B8-4959-9323-49D5553B1FE9}"/>
              </a:ext>
            </a:extLst>
          </p:cNvPr>
          <p:cNvPicPr>
            <a:picLocks noChangeAspect="1"/>
          </p:cNvPicPr>
          <p:nvPr/>
        </p:nvPicPr>
        <p:blipFill>
          <a:blip r:embed="rId5"/>
          <a:stretch>
            <a:fillRect/>
          </a:stretch>
        </p:blipFill>
        <p:spPr>
          <a:xfrm>
            <a:off x="5503118" y="1989031"/>
            <a:ext cx="2306153" cy="1692382"/>
          </a:xfrm>
          <a:prstGeom prst="rect">
            <a:avLst/>
          </a:prstGeom>
        </p:spPr>
      </p:pic>
      <p:pic>
        <p:nvPicPr>
          <p:cNvPr id="24" name="Grafik 23">
            <a:extLst>
              <a:ext uri="{FF2B5EF4-FFF2-40B4-BE49-F238E27FC236}">
                <a16:creationId xmlns:a16="http://schemas.microsoft.com/office/drawing/2014/main" id="{BE110F91-BE85-48F7-B218-861C9C06000F}"/>
              </a:ext>
            </a:extLst>
          </p:cNvPr>
          <p:cNvPicPr>
            <a:picLocks noChangeAspect="1"/>
          </p:cNvPicPr>
          <p:nvPr/>
        </p:nvPicPr>
        <p:blipFill>
          <a:blip r:embed="rId6"/>
          <a:stretch>
            <a:fillRect/>
          </a:stretch>
        </p:blipFill>
        <p:spPr>
          <a:xfrm>
            <a:off x="5830428" y="4184920"/>
            <a:ext cx="2434426" cy="1692382"/>
          </a:xfrm>
          <a:prstGeom prst="rect">
            <a:avLst/>
          </a:prstGeom>
        </p:spPr>
      </p:pic>
    </p:spTree>
    <p:extLst>
      <p:ext uri="{BB962C8B-B14F-4D97-AF65-F5344CB8AC3E}">
        <p14:creationId xmlns:p14="http://schemas.microsoft.com/office/powerpoint/2010/main" val="22226523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E42B55F-8770-4F3F-8531-A8EDA3BF21D9}"/>
              </a:ext>
            </a:extLst>
          </p:cNvPr>
          <p:cNvSpPr>
            <a:spLocks noGrp="1"/>
          </p:cNvSpPr>
          <p:nvPr>
            <p:ph type="title"/>
          </p:nvPr>
        </p:nvSpPr>
        <p:spPr/>
        <p:txBody>
          <a:bodyPr/>
          <a:lstStyle/>
          <a:p>
            <a:r>
              <a:rPr lang="de-DE" dirty="0"/>
              <a:t>Virtual Keyboard</a:t>
            </a:r>
          </a:p>
        </p:txBody>
      </p:sp>
      <p:pic>
        <p:nvPicPr>
          <p:cNvPr id="6" name="Grafik 5">
            <a:extLst>
              <a:ext uri="{FF2B5EF4-FFF2-40B4-BE49-F238E27FC236}">
                <a16:creationId xmlns:a16="http://schemas.microsoft.com/office/drawing/2014/main" id="{0ADBD892-5F63-4B7C-B933-569CBF6A5E1A}"/>
              </a:ext>
            </a:extLst>
          </p:cNvPr>
          <p:cNvPicPr>
            <a:picLocks noChangeAspect="1"/>
          </p:cNvPicPr>
          <p:nvPr/>
        </p:nvPicPr>
        <p:blipFill>
          <a:blip r:embed="rId2"/>
          <a:stretch>
            <a:fillRect/>
          </a:stretch>
        </p:blipFill>
        <p:spPr>
          <a:xfrm>
            <a:off x="982496" y="1500989"/>
            <a:ext cx="3742276" cy="4955467"/>
          </a:xfrm>
          <a:prstGeom prst="rect">
            <a:avLst/>
          </a:prstGeom>
        </p:spPr>
      </p:pic>
      <p:sp>
        <p:nvSpPr>
          <p:cNvPr id="9" name="Textplatzhalter 2">
            <a:extLst>
              <a:ext uri="{FF2B5EF4-FFF2-40B4-BE49-F238E27FC236}">
                <a16:creationId xmlns:a16="http://schemas.microsoft.com/office/drawing/2014/main" id="{86E99EA3-413E-4F79-81E7-AA0C62BEB98D}"/>
              </a:ext>
            </a:extLst>
          </p:cNvPr>
          <p:cNvSpPr>
            <a:spLocks noGrp="1"/>
          </p:cNvSpPr>
          <p:nvPr>
            <p:ph type="body" sz="quarter" idx="14"/>
          </p:nvPr>
        </p:nvSpPr>
        <p:spPr>
          <a:xfrm>
            <a:off x="550800" y="982286"/>
            <a:ext cx="11088000" cy="503238"/>
          </a:xfrm>
        </p:spPr>
        <p:txBody>
          <a:bodyPr/>
          <a:lstStyle/>
          <a:p>
            <a:r>
              <a:rPr lang="de-DE" dirty="0"/>
              <a:t>Retro Computer Events</a:t>
            </a:r>
          </a:p>
        </p:txBody>
      </p:sp>
      <p:pic>
        <p:nvPicPr>
          <p:cNvPr id="5" name="Grafik 4">
            <a:extLst>
              <a:ext uri="{FF2B5EF4-FFF2-40B4-BE49-F238E27FC236}">
                <a16:creationId xmlns:a16="http://schemas.microsoft.com/office/drawing/2014/main" id="{393A3961-B471-44C5-BDDD-D53D1743DF02}"/>
              </a:ext>
            </a:extLst>
          </p:cNvPr>
          <p:cNvPicPr>
            <a:picLocks noChangeAspect="1"/>
          </p:cNvPicPr>
          <p:nvPr/>
        </p:nvPicPr>
        <p:blipFill>
          <a:blip r:embed="rId3"/>
          <a:stretch>
            <a:fillRect/>
          </a:stretch>
        </p:blipFill>
        <p:spPr>
          <a:xfrm>
            <a:off x="5231086" y="1500989"/>
            <a:ext cx="5725218" cy="4293914"/>
          </a:xfrm>
          <a:prstGeom prst="rect">
            <a:avLst/>
          </a:prstGeom>
        </p:spPr>
      </p:pic>
    </p:spTree>
    <p:extLst>
      <p:ext uri="{BB962C8B-B14F-4D97-AF65-F5344CB8AC3E}">
        <p14:creationId xmlns:p14="http://schemas.microsoft.com/office/powerpoint/2010/main" val="33391787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E42B55F-8770-4F3F-8531-A8EDA3BF21D9}"/>
              </a:ext>
            </a:extLst>
          </p:cNvPr>
          <p:cNvSpPr>
            <a:spLocks noGrp="1"/>
          </p:cNvSpPr>
          <p:nvPr>
            <p:ph type="title"/>
          </p:nvPr>
        </p:nvSpPr>
        <p:spPr/>
        <p:txBody>
          <a:bodyPr/>
          <a:lstStyle/>
          <a:p>
            <a:r>
              <a:rPr lang="de-DE" dirty="0"/>
              <a:t>Virtual Keyboard</a:t>
            </a:r>
          </a:p>
        </p:txBody>
      </p:sp>
      <p:sp>
        <p:nvSpPr>
          <p:cNvPr id="9" name="Textplatzhalter 2">
            <a:extLst>
              <a:ext uri="{FF2B5EF4-FFF2-40B4-BE49-F238E27FC236}">
                <a16:creationId xmlns:a16="http://schemas.microsoft.com/office/drawing/2014/main" id="{86E99EA3-413E-4F79-81E7-AA0C62BEB98D}"/>
              </a:ext>
            </a:extLst>
          </p:cNvPr>
          <p:cNvSpPr>
            <a:spLocks noGrp="1"/>
          </p:cNvSpPr>
          <p:nvPr>
            <p:ph type="body" sz="quarter" idx="14"/>
          </p:nvPr>
        </p:nvSpPr>
        <p:spPr>
          <a:xfrm>
            <a:off x="550800" y="982286"/>
            <a:ext cx="11088000" cy="503238"/>
          </a:xfrm>
        </p:spPr>
        <p:txBody>
          <a:bodyPr/>
          <a:lstStyle/>
          <a:p>
            <a:r>
              <a:rPr lang="de-DE" dirty="0" err="1"/>
              <a:t>Using</a:t>
            </a:r>
            <a:r>
              <a:rPr lang="de-DE" dirty="0"/>
              <a:t> a C64 </a:t>
            </a:r>
            <a:r>
              <a:rPr lang="de-DE" dirty="0" err="1"/>
              <a:t>without</a:t>
            </a:r>
            <a:r>
              <a:rPr lang="de-DE" dirty="0"/>
              <a:t> </a:t>
            </a:r>
            <a:r>
              <a:rPr lang="de-DE" dirty="0" err="1"/>
              <a:t>touching</a:t>
            </a:r>
            <a:r>
              <a:rPr lang="de-DE" dirty="0"/>
              <a:t> </a:t>
            </a:r>
            <a:r>
              <a:rPr lang="de-DE" dirty="0" err="1"/>
              <a:t>it</a:t>
            </a:r>
            <a:endParaRPr lang="de-DE" dirty="0"/>
          </a:p>
        </p:txBody>
      </p:sp>
      <p:pic>
        <p:nvPicPr>
          <p:cNvPr id="2" name="WhatsApp Video 2021-10-03 at 20.22.58">
            <a:hlinkClick r:id="" action="ppaction://media"/>
            <a:extLst>
              <a:ext uri="{FF2B5EF4-FFF2-40B4-BE49-F238E27FC236}">
                <a16:creationId xmlns:a16="http://schemas.microsoft.com/office/drawing/2014/main" id="{76E21FED-64C6-4D08-AA0F-54979D751DE4}"/>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799026" y="261354"/>
            <a:ext cx="3352800" cy="6096000"/>
          </a:xfrm>
          <a:prstGeom prst="rect">
            <a:avLst/>
          </a:prstGeom>
        </p:spPr>
      </p:pic>
    </p:spTree>
    <p:extLst>
      <p:ext uri="{BB962C8B-B14F-4D97-AF65-F5344CB8AC3E}">
        <p14:creationId xmlns:p14="http://schemas.microsoft.com/office/powerpoint/2010/main" val="152469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112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p:txBody>
          <a:bodyPr/>
          <a:lstStyle/>
          <a:p>
            <a:r>
              <a:rPr lang="de-DE" dirty="0" err="1"/>
              <a:t>Idea</a:t>
            </a:r>
            <a:endParaRPr lang="de-DE" dirty="0"/>
          </a:p>
        </p:txBody>
      </p:sp>
      <p:sp>
        <p:nvSpPr>
          <p:cNvPr id="4" name="Titel 3">
            <a:extLst>
              <a:ext uri="{FF2B5EF4-FFF2-40B4-BE49-F238E27FC236}">
                <a16:creationId xmlns:a16="http://schemas.microsoft.com/office/drawing/2014/main" id="{7E42B55F-8770-4F3F-8531-A8EDA3BF21D9}"/>
              </a:ext>
            </a:extLst>
          </p:cNvPr>
          <p:cNvSpPr>
            <a:spLocks noGrp="1"/>
          </p:cNvSpPr>
          <p:nvPr>
            <p:ph type="title"/>
          </p:nvPr>
        </p:nvSpPr>
        <p:spPr/>
        <p:txBody>
          <a:bodyPr/>
          <a:lstStyle/>
          <a:p>
            <a:r>
              <a:rPr lang="de-DE" dirty="0"/>
              <a:t>Virtual Keyboard</a:t>
            </a:r>
          </a:p>
        </p:txBody>
      </p:sp>
      <p:pic>
        <p:nvPicPr>
          <p:cNvPr id="9" name="Grafik 8">
            <a:extLst>
              <a:ext uri="{FF2B5EF4-FFF2-40B4-BE49-F238E27FC236}">
                <a16:creationId xmlns:a16="http://schemas.microsoft.com/office/drawing/2014/main" id="{775A6DF6-0AED-4F68-B079-B07F2EC3889C}"/>
              </a:ext>
            </a:extLst>
          </p:cNvPr>
          <p:cNvPicPr>
            <a:picLocks noChangeAspect="1"/>
          </p:cNvPicPr>
          <p:nvPr/>
        </p:nvPicPr>
        <p:blipFill>
          <a:blip r:embed="rId2"/>
          <a:stretch>
            <a:fillRect/>
          </a:stretch>
        </p:blipFill>
        <p:spPr>
          <a:xfrm>
            <a:off x="34369" y="1341504"/>
            <a:ext cx="9696450" cy="5391150"/>
          </a:xfrm>
          <a:prstGeom prst="rect">
            <a:avLst/>
          </a:prstGeom>
        </p:spPr>
      </p:pic>
      <p:sp>
        <p:nvSpPr>
          <p:cNvPr id="10" name="Pfeil: nach rechts 9">
            <a:extLst>
              <a:ext uri="{FF2B5EF4-FFF2-40B4-BE49-F238E27FC236}">
                <a16:creationId xmlns:a16="http://schemas.microsoft.com/office/drawing/2014/main" id="{31723984-B082-4B10-89C1-B390C56CD64A}"/>
              </a:ext>
            </a:extLst>
          </p:cNvPr>
          <p:cNvSpPr/>
          <p:nvPr/>
        </p:nvSpPr>
        <p:spPr bwMode="gray">
          <a:xfrm rot="1995749">
            <a:off x="5182444" y="4197715"/>
            <a:ext cx="3878014" cy="201355"/>
          </a:xfrm>
          <a:prstGeom prst="rightArrow">
            <a:avLst/>
          </a:prstGeom>
          <a:solidFill>
            <a:schemeClr val="accent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Tree>
    <p:extLst>
      <p:ext uri="{BB962C8B-B14F-4D97-AF65-F5344CB8AC3E}">
        <p14:creationId xmlns:p14="http://schemas.microsoft.com/office/powerpoint/2010/main" val="42780107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E42B55F-8770-4F3F-8531-A8EDA3BF21D9}"/>
              </a:ext>
            </a:extLst>
          </p:cNvPr>
          <p:cNvSpPr>
            <a:spLocks noGrp="1"/>
          </p:cNvSpPr>
          <p:nvPr>
            <p:ph type="title"/>
          </p:nvPr>
        </p:nvSpPr>
        <p:spPr/>
        <p:txBody>
          <a:bodyPr/>
          <a:lstStyle/>
          <a:p>
            <a:r>
              <a:rPr lang="de-DE" dirty="0"/>
              <a:t>Virtual Keyboard</a:t>
            </a:r>
          </a:p>
        </p:txBody>
      </p:sp>
      <p:sp>
        <p:nvSpPr>
          <p:cNvPr id="9" name="Textplatzhalter 2">
            <a:extLst>
              <a:ext uri="{FF2B5EF4-FFF2-40B4-BE49-F238E27FC236}">
                <a16:creationId xmlns:a16="http://schemas.microsoft.com/office/drawing/2014/main" id="{86E99EA3-413E-4F79-81E7-AA0C62BEB98D}"/>
              </a:ext>
            </a:extLst>
          </p:cNvPr>
          <p:cNvSpPr>
            <a:spLocks noGrp="1"/>
          </p:cNvSpPr>
          <p:nvPr>
            <p:ph type="body" sz="quarter" idx="14"/>
          </p:nvPr>
        </p:nvSpPr>
        <p:spPr>
          <a:xfrm>
            <a:off x="550800" y="982286"/>
            <a:ext cx="11088000" cy="503238"/>
          </a:xfrm>
        </p:spPr>
        <p:txBody>
          <a:bodyPr/>
          <a:lstStyle/>
          <a:p>
            <a:r>
              <a:rPr lang="de-DE" dirty="0"/>
              <a:t>Keyboard </a:t>
            </a:r>
            <a:r>
              <a:rPr lang="de-DE" dirty="0" err="1"/>
              <a:t>layout</a:t>
            </a:r>
            <a:endParaRPr lang="de-DE" dirty="0"/>
          </a:p>
        </p:txBody>
      </p:sp>
      <p:pic>
        <p:nvPicPr>
          <p:cNvPr id="3" name="Grafik 2">
            <a:extLst>
              <a:ext uri="{FF2B5EF4-FFF2-40B4-BE49-F238E27FC236}">
                <a16:creationId xmlns:a16="http://schemas.microsoft.com/office/drawing/2014/main" id="{980494F3-1F0B-4955-B2B2-E11FB9501D42}"/>
              </a:ext>
            </a:extLst>
          </p:cNvPr>
          <p:cNvPicPr>
            <a:picLocks noChangeAspect="1"/>
          </p:cNvPicPr>
          <p:nvPr/>
        </p:nvPicPr>
        <p:blipFill>
          <a:blip r:embed="rId2"/>
          <a:stretch>
            <a:fillRect/>
          </a:stretch>
        </p:blipFill>
        <p:spPr>
          <a:xfrm>
            <a:off x="838475" y="1845574"/>
            <a:ext cx="10065035" cy="2952410"/>
          </a:xfrm>
          <a:prstGeom prst="rect">
            <a:avLst/>
          </a:prstGeom>
        </p:spPr>
      </p:pic>
    </p:spTree>
    <p:extLst>
      <p:ext uri="{BB962C8B-B14F-4D97-AF65-F5344CB8AC3E}">
        <p14:creationId xmlns:p14="http://schemas.microsoft.com/office/powerpoint/2010/main" val="3649958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E42B55F-8770-4F3F-8531-A8EDA3BF21D9}"/>
              </a:ext>
            </a:extLst>
          </p:cNvPr>
          <p:cNvSpPr>
            <a:spLocks noGrp="1"/>
          </p:cNvSpPr>
          <p:nvPr>
            <p:ph type="title"/>
          </p:nvPr>
        </p:nvSpPr>
        <p:spPr/>
        <p:txBody>
          <a:bodyPr/>
          <a:lstStyle/>
          <a:p>
            <a:r>
              <a:rPr lang="de-DE" dirty="0"/>
              <a:t>Virtual Keyboard</a:t>
            </a:r>
          </a:p>
        </p:txBody>
      </p:sp>
      <p:sp>
        <p:nvSpPr>
          <p:cNvPr id="9" name="Textplatzhalter 2">
            <a:extLst>
              <a:ext uri="{FF2B5EF4-FFF2-40B4-BE49-F238E27FC236}">
                <a16:creationId xmlns:a16="http://schemas.microsoft.com/office/drawing/2014/main" id="{86E99EA3-413E-4F79-81E7-AA0C62BEB98D}"/>
              </a:ext>
            </a:extLst>
          </p:cNvPr>
          <p:cNvSpPr>
            <a:spLocks noGrp="1"/>
          </p:cNvSpPr>
          <p:nvPr>
            <p:ph type="body" sz="quarter" idx="14"/>
          </p:nvPr>
        </p:nvSpPr>
        <p:spPr>
          <a:xfrm>
            <a:off x="550800" y="982286"/>
            <a:ext cx="11088000" cy="503238"/>
          </a:xfrm>
        </p:spPr>
        <p:txBody>
          <a:bodyPr/>
          <a:lstStyle/>
          <a:p>
            <a:r>
              <a:rPr lang="de-DE" dirty="0" err="1"/>
              <a:t>Prototyping</a:t>
            </a:r>
            <a:r>
              <a:rPr lang="de-DE" dirty="0"/>
              <a:t>…</a:t>
            </a:r>
          </a:p>
        </p:txBody>
      </p:sp>
      <p:pic>
        <p:nvPicPr>
          <p:cNvPr id="7" name="Grafik 6">
            <a:extLst>
              <a:ext uri="{FF2B5EF4-FFF2-40B4-BE49-F238E27FC236}">
                <a16:creationId xmlns:a16="http://schemas.microsoft.com/office/drawing/2014/main" id="{A328BB26-5E4F-4560-9C16-CE2ADD3C08E4}"/>
              </a:ext>
            </a:extLst>
          </p:cNvPr>
          <p:cNvPicPr>
            <a:picLocks noChangeAspect="1"/>
          </p:cNvPicPr>
          <p:nvPr/>
        </p:nvPicPr>
        <p:blipFill>
          <a:blip r:embed="rId2"/>
          <a:stretch>
            <a:fillRect/>
          </a:stretch>
        </p:blipFill>
        <p:spPr>
          <a:xfrm>
            <a:off x="478426" y="1485524"/>
            <a:ext cx="9188475" cy="4752660"/>
          </a:xfrm>
          <a:prstGeom prst="rect">
            <a:avLst/>
          </a:prstGeom>
        </p:spPr>
      </p:pic>
    </p:spTree>
    <p:extLst>
      <p:ext uri="{BB962C8B-B14F-4D97-AF65-F5344CB8AC3E}">
        <p14:creationId xmlns:p14="http://schemas.microsoft.com/office/powerpoint/2010/main" val="37486495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E42B55F-8770-4F3F-8531-A8EDA3BF21D9}"/>
              </a:ext>
            </a:extLst>
          </p:cNvPr>
          <p:cNvSpPr>
            <a:spLocks noGrp="1"/>
          </p:cNvSpPr>
          <p:nvPr>
            <p:ph type="title"/>
          </p:nvPr>
        </p:nvSpPr>
        <p:spPr/>
        <p:txBody>
          <a:bodyPr/>
          <a:lstStyle/>
          <a:p>
            <a:r>
              <a:rPr lang="de-DE" dirty="0"/>
              <a:t>Virtual Keyboard</a:t>
            </a:r>
          </a:p>
        </p:txBody>
      </p:sp>
      <p:sp>
        <p:nvSpPr>
          <p:cNvPr id="9" name="Textplatzhalter 2">
            <a:extLst>
              <a:ext uri="{FF2B5EF4-FFF2-40B4-BE49-F238E27FC236}">
                <a16:creationId xmlns:a16="http://schemas.microsoft.com/office/drawing/2014/main" id="{86E99EA3-413E-4F79-81E7-AA0C62BEB98D}"/>
              </a:ext>
            </a:extLst>
          </p:cNvPr>
          <p:cNvSpPr>
            <a:spLocks noGrp="1"/>
          </p:cNvSpPr>
          <p:nvPr>
            <p:ph type="body" sz="quarter" idx="14"/>
          </p:nvPr>
        </p:nvSpPr>
        <p:spPr>
          <a:xfrm>
            <a:off x="550800" y="982286"/>
            <a:ext cx="11088000" cy="503238"/>
          </a:xfrm>
        </p:spPr>
        <p:txBody>
          <a:bodyPr/>
          <a:lstStyle/>
          <a:p>
            <a:r>
              <a:rPr lang="de-DE"/>
              <a:t>Keyboard Layout</a:t>
            </a:r>
            <a:endParaRPr lang="de-DE" dirty="0"/>
          </a:p>
        </p:txBody>
      </p:sp>
      <p:pic>
        <p:nvPicPr>
          <p:cNvPr id="5" name="Grafik 4">
            <a:extLst>
              <a:ext uri="{FF2B5EF4-FFF2-40B4-BE49-F238E27FC236}">
                <a16:creationId xmlns:a16="http://schemas.microsoft.com/office/drawing/2014/main" id="{F572363D-F442-4E59-96B1-ACD45BA739AE}"/>
              </a:ext>
            </a:extLst>
          </p:cNvPr>
          <p:cNvPicPr>
            <a:picLocks noChangeAspect="1"/>
          </p:cNvPicPr>
          <p:nvPr/>
        </p:nvPicPr>
        <p:blipFill>
          <a:blip r:embed="rId2"/>
          <a:stretch>
            <a:fillRect/>
          </a:stretch>
        </p:blipFill>
        <p:spPr>
          <a:xfrm>
            <a:off x="694456" y="1485524"/>
            <a:ext cx="7151250" cy="5256730"/>
          </a:xfrm>
          <a:prstGeom prst="rect">
            <a:avLst/>
          </a:prstGeom>
        </p:spPr>
      </p:pic>
      <p:pic>
        <p:nvPicPr>
          <p:cNvPr id="7" name="Grafik 6">
            <a:extLst>
              <a:ext uri="{FF2B5EF4-FFF2-40B4-BE49-F238E27FC236}">
                <a16:creationId xmlns:a16="http://schemas.microsoft.com/office/drawing/2014/main" id="{9ABD1DFE-7372-4F84-8DCB-652BD5F90516}"/>
              </a:ext>
            </a:extLst>
          </p:cNvPr>
          <p:cNvPicPr>
            <a:picLocks noChangeAspect="1"/>
          </p:cNvPicPr>
          <p:nvPr/>
        </p:nvPicPr>
        <p:blipFill>
          <a:blip r:embed="rId3"/>
          <a:stretch>
            <a:fillRect/>
          </a:stretch>
        </p:blipFill>
        <p:spPr>
          <a:xfrm>
            <a:off x="8158023" y="1210163"/>
            <a:ext cx="3191320" cy="1657581"/>
          </a:xfrm>
          <a:prstGeom prst="rect">
            <a:avLst/>
          </a:prstGeom>
        </p:spPr>
      </p:pic>
    </p:spTree>
    <p:extLst>
      <p:ext uri="{BB962C8B-B14F-4D97-AF65-F5344CB8AC3E}">
        <p14:creationId xmlns:p14="http://schemas.microsoft.com/office/powerpoint/2010/main" val="21836928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DEFAULTLANGUAGEID" val="1033"/>
  <p:tag name="VCT_SHOW_CA" val="False"/>
  <p:tag name="THINKCELLUNDODONOTDELETE"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ak2Z7yz3Yh2ExrBh_GOyA"/>
</p:tagLst>
</file>

<file path=ppt/tags/tag4.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5.xml><?xml version="1.0" encoding="utf-8"?>
<p:tagLst xmlns:a="http://schemas.openxmlformats.org/drawingml/2006/main" xmlns:r="http://schemas.openxmlformats.org/officeDocument/2006/relationships" xmlns:p="http://schemas.openxmlformats.org/presentationml/2006/main">
  <p:tag name="MIO_EK" val="2099"/>
  <p:tag name="MIO_FALLBACK_LAYOUT" val="7"/>
  <p:tag name="MIO_SHOW_DATE" val="False"/>
  <p:tag name="MIO_SHOW_FOOTER" val="False"/>
  <p:tag name="MIO_SHOW_PAGENUMBER" val="False"/>
  <p:tag name="MIO_AVOID_BLANK_LAYOUT" val="True"/>
  <p:tag name="MIO_CD_LAYOUT_VALID_AREA" val="False"/>
  <p:tag name="MIO_NUMBER_OF_VALID_LAYOUTS" val="21"/>
  <p:tag name="MIO_HDS" val="True"/>
  <p:tag name="MIO_SKIPVERSION" val="01.01.0001 00:00:00"/>
  <p:tag name="MIO_EKGUID" val="f480a999-e64a-4374-ae35-94690ae96410"/>
  <p:tag name="MIO_UPDATE" val="True"/>
  <p:tag name="MIO_VERSION" val="23.04.2018 13:26:52"/>
  <p:tag name="MIO_DBID" val="45D6C5C4-89E9-4184-810D-0F005109E3D2"/>
  <p:tag name="MIO_LASTDOWNLOADED" val="23.04.2018 13:26:52"/>
  <p:tag name="MIO_OBJECTNAME" val="TÜV Rheinland EN"/>
  <p:tag name="MIO_LASTEDITORNAME" val="Michaela Kapalla"/>
  <p:tag name="MIO_CDID" val="4e1976f0-00f2-4571-8200-ef53bf5e2598"/>
  <p:tag name="MIO_PRESI_FIRST_SLIDENUMBER" val="1"/>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SKIPVERSION" val="01.01.0001 00:00:00"/>
  <p:tag name="MIO_FALLBACK_LAYOUT" val="8"/>
  <p:tag name="MIO_SHOW_DATE" val="True"/>
  <p:tag name="MIO_SHOW_FOOTER" val="True"/>
  <p:tag name="MIO_SHOW_PAGENUMBER" val="True"/>
  <p:tag name="MIO_AVOID_BLANK_LAYOUT" val="True"/>
  <p:tag name="MIO_CD_LAYOUT_VALID_AREA" val="True"/>
  <p:tag name="MIO_NUMBER_OF_VALID_LAYOUTS" val="24"/>
  <p:tag name="MIO_HDS" val="True"/>
  <p:tag name="MIO_EK" val="2315"/>
  <p:tag name="MIO_EKGUID" val="4621d5d9-6582-432a-b180-ee9221af4af9"/>
  <p:tag name="MIO_UPDATE" val="True"/>
  <p:tag name="MIO_VERSION" val="03.07.2018 16:24:04"/>
  <p:tag name="MIO_DBID" val="45D6C5C4-89E9-4184-810D-0F005109E3D2"/>
  <p:tag name="MIO_LASTDOWNLOADED" val="04.12.2018 17:55:47"/>
  <p:tag name="MIO_OBJECTNAME" val="TÜV Rheinland DE"/>
  <p:tag name="MIO_LASTEDITORNAME" val="Michaela Kapalla"/>
  <p:tag name="MIO_CDID" val="4e1976f0-00f2-4571-8200-ef53bf5e2598"/>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8"/>
  <p:tag name="MIO_SHOW_DATE" val="False"/>
  <p:tag name="MIO_SHOW_FOOTER" val="False"/>
  <p:tag name="MIO_SHOW_PAGENUMBER" val="False"/>
  <p:tag name="MIO_AVOID_BLANK_LAYOUT" val="True"/>
  <p:tag name="MIO_CD_LAYOUT_VALID_AREA" val="False"/>
  <p:tag name="MIO_NUMBER_OF_VALID_LAYOUTS" val="31"/>
  <p:tag name="MIO_HDS" val="True"/>
  <p:tag name="MIO_SKIPVERSION" val="01.01.0001 00:00:00"/>
  <p:tag name="MIO_EKGUID" val="1ed335f1-bd70-43f4-b721-10a60c9f17fb"/>
  <p:tag name="MIO_UPDATE" val="True"/>
  <p:tag name="MIO_VERSION" val="08.03.2020 14:02:12"/>
  <p:tag name="MIO_DBID" val="45D6C5C4-89E9-4184-810D-0F005109E3D2"/>
  <p:tag name="MIO_LASTDOWNLOADED" val="06.05.2022 10:13:28.838"/>
  <p:tag name="MIO_OBJECTNAME" val="TÜV Rheinland Training"/>
  <p:tag name="MIO_LASTEDITORNAME" val="Michaela Kapalla"/>
  <p:tag name="MIO_CDID" val="3656118f-0d62-4b10-bdbc-16b7f5dab3f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wBUiqu9KiEgHBepgw7Rcw"/>
</p:tagLst>
</file>

<file path=ppt/theme/theme1.xml><?xml version="1.0" encoding="utf-8"?>
<a:theme xmlns:a="http://schemas.openxmlformats.org/drawingml/2006/main" name="TÜV Rheinland">
  <a:themeElements>
    <a:clrScheme name="TÜV Rheinland">
      <a:dk1>
        <a:sysClr val="windowText" lastClr="000000"/>
      </a:dk1>
      <a:lt1>
        <a:sysClr val="window" lastClr="FFFFFF"/>
      </a:lt1>
      <a:dk2>
        <a:srgbClr val="4D4D4D"/>
      </a:dk2>
      <a:lt2>
        <a:srgbClr val="CCCCCC"/>
      </a:lt2>
      <a:accent1>
        <a:srgbClr val="0071B9"/>
      </a:accent1>
      <a:accent2>
        <a:srgbClr val="CCE2F1"/>
      </a:accent2>
      <a:accent3>
        <a:srgbClr val="80B7DC"/>
      </a:accent3>
      <a:accent4>
        <a:srgbClr val="265D7F"/>
      </a:accent4>
      <a:accent5>
        <a:srgbClr val="002B46"/>
      </a:accent5>
      <a:accent6>
        <a:srgbClr val="808080"/>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2700" cap="rnd">
          <a:noFill/>
          <a:prstDash val="solid"/>
          <a:headEnd type="none" w="med" len="med"/>
          <a:tailEnd type="triangle" w="med" len="med"/>
        </a:ln>
      </a:spPr>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defPPr algn="ctr" defTabSz="449263" eaLnBrk="0" hangingPunct="0">
          <a:buClr>
            <a:srgbClr val="000000"/>
          </a:buClr>
          <a:buSzPct val="100000"/>
          <a:defRPr sz="1800" kern="0" dirty="0" err="1"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rtlCol="0">
        <a:spAutoFit/>
      </a:bodyPr>
      <a:lstStyle>
        <a:defPPr marL="177800" indent="-177800" algn="l" rtl="0" eaLnBrk="1" fontAlgn="auto" hangingPunct="1">
          <a:lnSpc>
            <a:spcPts val="2200"/>
          </a:lnSpc>
          <a:spcBef>
            <a:spcPts val="0"/>
          </a:spcBef>
          <a:spcAft>
            <a:spcPts val="0"/>
          </a:spcAft>
          <a:buClr>
            <a:schemeClr val="tx2"/>
          </a:buClr>
          <a:buFont typeface="Wingdings" panose="05000000000000000000" pitchFamily="2" charset="2"/>
          <a:buChar char="§"/>
          <a:defRPr sz="1400" b="0" i="0" u="none" baseline="0" dirty="0" smtClean="0">
            <a:solidFill>
              <a:srgbClr val="000000"/>
            </a:solidFill>
            <a:latin typeface="Arial"/>
          </a:defRPr>
        </a:defPPr>
      </a:lstStyle>
    </a:txDef>
  </a:objectDefaults>
  <a:extraClrSchemeLst/>
  <a:custClrLst>
    <a:custClr name="Green">
      <a:srgbClr val="50B400"/>
    </a:custClr>
    <a:custClr name="Yellow">
      <a:srgbClr val="FFC600"/>
    </a:custClr>
    <a:custClr name="Red">
      <a:srgbClr val="FF073A"/>
    </a:custClr>
  </a:custClrLst>
  <a:extLst>
    <a:ext uri="{05A4C25C-085E-4340-85A3-A5531E510DB2}">
      <thm15:themeFamily xmlns:thm15="http://schemas.microsoft.com/office/thememl/2012/main" name="TÜV_Training Master_empower.potx" id="{437EEC70-A33A-4310-B576-03EB5438A713}" vid="{0A096D3A-0D7B-4DB8-97BA-4A6E997EE4F5}"/>
    </a:ext>
  </a:extLst>
</a:theme>
</file>

<file path=ppt/theme/theme2.xml><?xml version="1.0" encoding="utf-8"?>
<a:theme xmlns:a="http://schemas.openxmlformats.org/drawingml/2006/main" name="Larissa">
  <a:themeElements>
    <a:clrScheme name="TÜV Rheinland">
      <a:dk1>
        <a:sysClr val="windowText" lastClr="000000"/>
      </a:dk1>
      <a:lt1>
        <a:sysClr val="window" lastClr="FFFFFF"/>
      </a:lt1>
      <a:dk2>
        <a:srgbClr val="444A4E"/>
      </a:dk2>
      <a:lt2>
        <a:srgbClr val="D3D3D3"/>
      </a:lt2>
      <a:accent1>
        <a:srgbClr val="0071B9"/>
      </a:accent1>
      <a:accent2>
        <a:srgbClr val="CEE0F2"/>
      </a:accent2>
      <a:accent3>
        <a:srgbClr val="265D7F"/>
      </a:accent3>
      <a:accent4>
        <a:srgbClr val="002B46"/>
      </a:accent4>
      <a:accent5>
        <a:srgbClr val="8A8A8A"/>
      </a:accent5>
      <a:accent6>
        <a:srgbClr val="D3D3D3"/>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ÜV Rheinland">
      <a:dk1>
        <a:sysClr val="windowText" lastClr="000000"/>
      </a:dk1>
      <a:lt1>
        <a:sysClr val="window" lastClr="FFFFFF"/>
      </a:lt1>
      <a:dk2>
        <a:srgbClr val="444A4E"/>
      </a:dk2>
      <a:lt2>
        <a:srgbClr val="D3D3D3"/>
      </a:lt2>
      <a:accent1>
        <a:srgbClr val="0071B9"/>
      </a:accent1>
      <a:accent2>
        <a:srgbClr val="CEE0F2"/>
      </a:accent2>
      <a:accent3>
        <a:srgbClr val="265D7F"/>
      </a:accent3>
      <a:accent4>
        <a:srgbClr val="002B46"/>
      </a:accent4>
      <a:accent5>
        <a:srgbClr val="8A8A8A"/>
      </a:accent5>
      <a:accent6>
        <a:srgbClr val="D3D3D3"/>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76</Words>
  <Application>Microsoft Office PowerPoint</Application>
  <PresentationFormat>Benutzerdefiniert</PresentationFormat>
  <Paragraphs>26</Paragraphs>
  <Slides>11</Slides>
  <Notes>0</Notes>
  <HiddenSlides>0</HiddenSlides>
  <MMClips>1</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17" baseType="lpstr">
      <vt:lpstr>Arial</vt:lpstr>
      <vt:lpstr>Symbol</vt:lpstr>
      <vt:lpstr>Verdana</vt:lpstr>
      <vt:lpstr>Wingdings</vt:lpstr>
      <vt:lpstr>TÜV Rheinland</vt:lpstr>
      <vt:lpstr>think-cell Folie</vt:lpstr>
      <vt:lpstr>TÜV Rheinland </vt:lpstr>
      <vt:lpstr>Virtual Keyboard</vt:lpstr>
      <vt:lpstr>Virtual Keyboard</vt:lpstr>
      <vt:lpstr>Virtual Keyboard</vt:lpstr>
      <vt:lpstr>Virtual Keyboard</vt:lpstr>
      <vt:lpstr>Virtual Keyboard</vt:lpstr>
      <vt:lpstr>Virtual Keyboard</vt:lpstr>
      <vt:lpstr>Virtual Keyboard</vt:lpstr>
      <vt:lpstr>Virtual Keyboard</vt:lpstr>
      <vt:lpstr>Virtual Keyboard</vt:lpstr>
      <vt:lpstr>Virtual Keyboard</vt:lpstr>
    </vt:vector>
  </TitlesOfParts>
  <Company>TÜV Rheinland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ÜV Rheinland Training Master</dc:title>
  <dc:creator>Hardy Ullendahl</dc:creator>
  <cp:lastModifiedBy>Hardy Ullendahl</cp:lastModifiedBy>
  <cp:revision>958</cp:revision>
  <cp:lastPrinted>2019-09-25T08:08:19Z</cp:lastPrinted>
  <dcterms:created xsi:type="dcterms:W3CDTF">2016-12-05T09:44:27Z</dcterms:created>
  <dcterms:modified xsi:type="dcterms:W3CDTF">2022-05-09T15:06:35Z</dcterms:modified>
</cp:coreProperties>
</file>